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9.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0.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1.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24" r:id="rId5"/>
    <p:sldMasterId id="2147483738" r:id="rId6"/>
    <p:sldMasterId id="2147483751" r:id="rId7"/>
    <p:sldMasterId id="2147483764" r:id="rId8"/>
    <p:sldMasterId id="2147483785" r:id="rId9"/>
    <p:sldMasterId id="2147483808" r:id="rId10"/>
    <p:sldMasterId id="2147483818" r:id="rId11"/>
    <p:sldMasterId id="2147483839" r:id="rId12"/>
    <p:sldMasterId id="2147483844" r:id="rId13"/>
    <p:sldMasterId id="2147483858" r:id="rId14"/>
    <p:sldMasterId id="2147483861" r:id="rId15"/>
  </p:sldMasterIdLst>
  <p:notesMasterIdLst>
    <p:notesMasterId r:id="rId63"/>
  </p:notesMasterIdLst>
  <p:handoutMasterIdLst>
    <p:handoutMasterId r:id="rId64"/>
  </p:handoutMasterIdLst>
  <p:sldIdLst>
    <p:sldId id="2147196379" r:id="rId16"/>
    <p:sldId id="2147470221" r:id="rId17"/>
    <p:sldId id="2147196354" r:id="rId18"/>
    <p:sldId id="2147470219" r:id="rId19"/>
    <p:sldId id="2147469980" r:id="rId20"/>
    <p:sldId id="2147470218" r:id="rId21"/>
    <p:sldId id="2147196336" r:id="rId22"/>
    <p:sldId id="2147196190" r:id="rId23"/>
    <p:sldId id="2147196358" r:id="rId24"/>
    <p:sldId id="2147196355" r:id="rId25"/>
    <p:sldId id="2147196356" r:id="rId26"/>
    <p:sldId id="258" r:id="rId27"/>
    <p:sldId id="2147196267" r:id="rId28"/>
    <p:sldId id="2147196271" r:id="rId29"/>
    <p:sldId id="2147196272" r:id="rId30"/>
    <p:sldId id="2147196270" r:id="rId31"/>
    <p:sldId id="2147196321" r:id="rId32"/>
    <p:sldId id="2147196274" r:id="rId33"/>
    <p:sldId id="2147196273" r:id="rId34"/>
    <p:sldId id="261" r:id="rId35"/>
    <p:sldId id="272" r:id="rId36"/>
    <p:sldId id="2147196304" r:id="rId37"/>
    <p:sldId id="2147470050" r:id="rId38"/>
    <p:sldId id="259" r:id="rId39"/>
    <p:sldId id="2147470204" r:id="rId40"/>
    <p:sldId id="2147470222" r:id="rId41"/>
    <p:sldId id="2147470223" r:id="rId42"/>
    <p:sldId id="2147470224" r:id="rId43"/>
    <p:sldId id="2147470225" r:id="rId44"/>
    <p:sldId id="2147470226" r:id="rId45"/>
    <p:sldId id="2147470214" r:id="rId46"/>
    <p:sldId id="2147470213" r:id="rId47"/>
    <p:sldId id="2147470164" r:id="rId48"/>
    <p:sldId id="2147470165" r:id="rId49"/>
    <p:sldId id="2147470166" r:id="rId50"/>
    <p:sldId id="2147470186" r:id="rId51"/>
    <p:sldId id="2147470215" r:id="rId52"/>
    <p:sldId id="2147470075" r:id="rId53"/>
    <p:sldId id="2147470220" r:id="rId54"/>
    <p:sldId id="2147470161" r:id="rId55"/>
    <p:sldId id="2147470206" r:id="rId56"/>
    <p:sldId id="2147470216" r:id="rId57"/>
    <p:sldId id="2147470029" r:id="rId58"/>
    <p:sldId id="2147469941" r:id="rId59"/>
    <p:sldId id="2147470069" r:id="rId60"/>
    <p:sldId id="2147470217" r:id="rId61"/>
    <p:sldId id="2147470064" r:id="rId62"/>
  </p:sldIdLst>
  <p:sldSz cx="16254413" cy="9144000"/>
  <p:notesSz cx="6858000" cy="9144000"/>
  <p:defaultTextStyle>
    <a:defPPr>
      <a:defRPr lang="nb-NO"/>
    </a:defPPr>
    <a:lvl1pPr marL="0" algn="l" defTabSz="1149949" rtl="0" eaLnBrk="1" latinLnBrk="0" hangingPunct="1">
      <a:defRPr sz="2264" kern="1200">
        <a:solidFill>
          <a:schemeClr val="tx1"/>
        </a:solidFill>
        <a:latin typeface="+mn-lt"/>
        <a:ea typeface="+mn-ea"/>
        <a:cs typeface="+mn-cs"/>
      </a:defRPr>
    </a:lvl1pPr>
    <a:lvl2pPr marL="574975" algn="l" defTabSz="1149949" rtl="0" eaLnBrk="1" latinLnBrk="0" hangingPunct="1">
      <a:defRPr sz="2264" kern="1200">
        <a:solidFill>
          <a:schemeClr val="tx1"/>
        </a:solidFill>
        <a:latin typeface="+mn-lt"/>
        <a:ea typeface="+mn-ea"/>
        <a:cs typeface="+mn-cs"/>
      </a:defRPr>
    </a:lvl2pPr>
    <a:lvl3pPr marL="1149949" algn="l" defTabSz="1149949" rtl="0" eaLnBrk="1" latinLnBrk="0" hangingPunct="1">
      <a:defRPr sz="2264" kern="1200">
        <a:solidFill>
          <a:schemeClr val="tx1"/>
        </a:solidFill>
        <a:latin typeface="+mn-lt"/>
        <a:ea typeface="+mn-ea"/>
        <a:cs typeface="+mn-cs"/>
      </a:defRPr>
    </a:lvl3pPr>
    <a:lvl4pPr marL="1724924" algn="l" defTabSz="1149949" rtl="0" eaLnBrk="1" latinLnBrk="0" hangingPunct="1">
      <a:defRPr sz="2264" kern="1200">
        <a:solidFill>
          <a:schemeClr val="tx1"/>
        </a:solidFill>
        <a:latin typeface="+mn-lt"/>
        <a:ea typeface="+mn-ea"/>
        <a:cs typeface="+mn-cs"/>
      </a:defRPr>
    </a:lvl4pPr>
    <a:lvl5pPr marL="2299899" algn="l" defTabSz="1149949" rtl="0" eaLnBrk="1" latinLnBrk="0" hangingPunct="1">
      <a:defRPr sz="2264" kern="1200">
        <a:solidFill>
          <a:schemeClr val="tx1"/>
        </a:solidFill>
        <a:latin typeface="+mn-lt"/>
        <a:ea typeface="+mn-ea"/>
        <a:cs typeface="+mn-cs"/>
      </a:defRPr>
    </a:lvl5pPr>
    <a:lvl6pPr marL="2874874" algn="l" defTabSz="1149949" rtl="0" eaLnBrk="1" latinLnBrk="0" hangingPunct="1">
      <a:defRPr sz="2264" kern="1200">
        <a:solidFill>
          <a:schemeClr val="tx1"/>
        </a:solidFill>
        <a:latin typeface="+mn-lt"/>
        <a:ea typeface="+mn-ea"/>
        <a:cs typeface="+mn-cs"/>
      </a:defRPr>
    </a:lvl6pPr>
    <a:lvl7pPr marL="3449848" algn="l" defTabSz="1149949" rtl="0" eaLnBrk="1" latinLnBrk="0" hangingPunct="1">
      <a:defRPr sz="2264" kern="1200">
        <a:solidFill>
          <a:schemeClr val="tx1"/>
        </a:solidFill>
        <a:latin typeface="+mn-lt"/>
        <a:ea typeface="+mn-ea"/>
        <a:cs typeface="+mn-cs"/>
      </a:defRPr>
    </a:lvl7pPr>
    <a:lvl8pPr marL="4024823" algn="l" defTabSz="1149949" rtl="0" eaLnBrk="1" latinLnBrk="0" hangingPunct="1">
      <a:defRPr sz="2264" kern="1200">
        <a:solidFill>
          <a:schemeClr val="tx1"/>
        </a:solidFill>
        <a:latin typeface="+mn-lt"/>
        <a:ea typeface="+mn-ea"/>
        <a:cs typeface="+mn-cs"/>
      </a:defRPr>
    </a:lvl8pPr>
    <a:lvl9pPr marL="4599798" algn="l" defTabSz="1149949" rtl="0" eaLnBrk="1" latinLnBrk="0" hangingPunct="1">
      <a:defRPr sz="226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A5A7"/>
    <a:srgbClr val="FF714F"/>
    <a:srgbClr val="FF967D"/>
    <a:srgbClr val="FF6644"/>
    <a:srgbClr val="1E98F5"/>
    <a:srgbClr val="E5AA20"/>
    <a:srgbClr val="1E2B3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84A56E-980C-4A93-82C1-1315D3F11669}" v="42" dt="2024-11-07T10:26:04.8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66356" autoAdjust="0"/>
  </p:normalViewPr>
  <p:slideViewPr>
    <p:cSldViewPr snapToGrid="0">
      <p:cViewPr varScale="1">
        <p:scale>
          <a:sx n="50" d="100"/>
          <a:sy n="50" d="100"/>
        </p:scale>
        <p:origin x="2844" y="60"/>
      </p:cViewPr>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6.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handoutMaster" Target="handoutMasters/handoutMaster1.xml"/><Relationship Id="rId69"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theme" Target="theme/theme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ugleberg, Joachim" userId="73a1dab4-12a6-4ca3-ae8d-eba3ed556f21" providerId="ADAL" clId="{6184A56E-980C-4A93-82C1-1315D3F11669}"/>
    <pc:docChg chg="undo redo custSel addSld delSld modSld sldOrd">
      <pc:chgData name="Fugleberg, Joachim" userId="73a1dab4-12a6-4ca3-ae8d-eba3ed556f21" providerId="ADAL" clId="{6184A56E-980C-4A93-82C1-1315D3F11669}" dt="2024-11-07T10:26:13.473" v="441" actId="20577"/>
      <pc:docMkLst>
        <pc:docMk/>
      </pc:docMkLst>
      <pc:sldChg chg="del">
        <pc:chgData name="Fugleberg, Joachim" userId="73a1dab4-12a6-4ca3-ae8d-eba3ed556f21" providerId="ADAL" clId="{6184A56E-980C-4A93-82C1-1315D3F11669}" dt="2024-11-07T09:17:52.209" v="300" actId="47"/>
        <pc:sldMkLst>
          <pc:docMk/>
          <pc:sldMk cId="3291835156" sldId="257"/>
        </pc:sldMkLst>
      </pc:sldChg>
      <pc:sldChg chg="modNotesTx">
        <pc:chgData name="Fugleberg, Joachim" userId="73a1dab4-12a6-4ca3-ae8d-eba3ed556f21" providerId="ADAL" clId="{6184A56E-980C-4A93-82C1-1315D3F11669}" dt="2024-11-07T10:23:20.085" v="436" actId="20577"/>
        <pc:sldMkLst>
          <pc:docMk/>
          <pc:sldMk cId="1389443461" sldId="259"/>
        </pc:sldMkLst>
      </pc:sldChg>
      <pc:sldChg chg="del">
        <pc:chgData name="Fugleberg, Joachim" userId="73a1dab4-12a6-4ca3-ae8d-eba3ed556f21" providerId="ADAL" clId="{6184A56E-980C-4A93-82C1-1315D3F11669}" dt="2024-11-06T10:29:11.392" v="3" actId="47"/>
        <pc:sldMkLst>
          <pc:docMk/>
          <pc:sldMk cId="172639771" sldId="285"/>
        </pc:sldMkLst>
      </pc:sldChg>
      <pc:sldChg chg="del">
        <pc:chgData name="Fugleberg, Joachim" userId="73a1dab4-12a6-4ca3-ae8d-eba3ed556f21" providerId="ADAL" clId="{6184A56E-980C-4A93-82C1-1315D3F11669}" dt="2024-11-06T10:32:53.944" v="91" actId="47"/>
        <pc:sldMkLst>
          <pc:docMk/>
          <pc:sldMk cId="827871398" sldId="304"/>
        </pc:sldMkLst>
      </pc:sldChg>
      <pc:sldChg chg="delSp modSp add mod setBg delDesignElem">
        <pc:chgData name="Fugleberg, Joachim" userId="73a1dab4-12a6-4ca3-ae8d-eba3ed556f21" providerId="ADAL" clId="{6184A56E-980C-4A93-82C1-1315D3F11669}" dt="2024-11-06T10:37:47.972" v="92" actId="207"/>
        <pc:sldMkLst>
          <pc:docMk/>
          <pc:sldMk cId="4240859542" sldId="2147196190"/>
        </pc:sldMkLst>
        <pc:spChg chg="del">
          <ac:chgData name="Fugleberg, Joachim" userId="73a1dab4-12a6-4ca3-ae8d-eba3ed556f21" providerId="ADAL" clId="{6184A56E-980C-4A93-82C1-1315D3F11669}" dt="2024-11-06T10:30:59.178" v="70"/>
          <ac:spMkLst>
            <pc:docMk/>
            <pc:sldMk cId="4240859542" sldId="2147196190"/>
            <ac:spMk id="48" creationId="{2EB492CD-616E-47F8-933B-5E2D952A0593}"/>
          </ac:spMkLst>
        </pc:spChg>
        <pc:spChg chg="del">
          <ac:chgData name="Fugleberg, Joachim" userId="73a1dab4-12a6-4ca3-ae8d-eba3ed556f21" providerId="ADAL" clId="{6184A56E-980C-4A93-82C1-1315D3F11669}" dt="2024-11-06T10:30:59.178" v="70"/>
          <ac:spMkLst>
            <pc:docMk/>
            <pc:sldMk cId="4240859542" sldId="2147196190"/>
            <ac:spMk id="50" creationId="{59383CF9-23B5-4335-9B21-1791C4CF1C75}"/>
          </ac:spMkLst>
        </pc:spChg>
        <pc:spChg chg="del">
          <ac:chgData name="Fugleberg, Joachim" userId="73a1dab4-12a6-4ca3-ae8d-eba3ed556f21" providerId="ADAL" clId="{6184A56E-980C-4A93-82C1-1315D3F11669}" dt="2024-11-06T10:30:59.178" v="70"/>
          <ac:spMkLst>
            <pc:docMk/>
            <pc:sldMk cId="4240859542" sldId="2147196190"/>
            <ac:spMk id="52" creationId="{0007FE00-9498-4706-B255-6437B0252C02}"/>
          </ac:spMkLst>
        </pc:spChg>
        <pc:picChg chg="mod">
          <ac:chgData name="Fugleberg, Joachim" userId="73a1dab4-12a6-4ca3-ae8d-eba3ed556f21" providerId="ADAL" clId="{6184A56E-980C-4A93-82C1-1315D3F11669}" dt="2024-11-06T10:37:47.972" v="92" actId="207"/>
          <ac:picMkLst>
            <pc:docMk/>
            <pc:sldMk cId="4240859542" sldId="2147196190"/>
            <ac:picMk id="8" creationId="{64A5118C-7135-4BC4-84A9-900310CCF7C9}"/>
          </ac:picMkLst>
        </pc:picChg>
      </pc:sldChg>
      <pc:sldChg chg="ord">
        <pc:chgData name="Fugleberg, Joachim" userId="73a1dab4-12a6-4ca3-ae8d-eba3ed556f21" providerId="ADAL" clId="{6184A56E-980C-4A93-82C1-1315D3F11669}" dt="2024-11-06T14:54:29.088" v="120"/>
        <pc:sldMkLst>
          <pc:docMk/>
          <pc:sldMk cId="2485997448" sldId="2147196272"/>
        </pc:sldMkLst>
      </pc:sldChg>
      <pc:sldChg chg="modSp mod">
        <pc:chgData name="Fugleberg, Joachim" userId="73a1dab4-12a6-4ca3-ae8d-eba3ed556f21" providerId="ADAL" clId="{6184A56E-980C-4A93-82C1-1315D3F11669}" dt="2024-11-07T09:52:32.731" v="435" actId="1076"/>
        <pc:sldMkLst>
          <pc:docMk/>
          <pc:sldMk cId="223302085" sldId="2147196336"/>
        </pc:sldMkLst>
        <pc:spChg chg="mod">
          <ac:chgData name="Fugleberg, Joachim" userId="73a1dab4-12a6-4ca3-ae8d-eba3ed556f21" providerId="ADAL" clId="{6184A56E-980C-4A93-82C1-1315D3F11669}" dt="2024-11-07T09:52:32.731" v="435" actId="1076"/>
          <ac:spMkLst>
            <pc:docMk/>
            <pc:sldMk cId="223302085" sldId="2147196336"/>
            <ac:spMk id="6" creationId="{19BFB388-935E-3579-999C-256DD2332A01}"/>
          </ac:spMkLst>
        </pc:spChg>
      </pc:sldChg>
      <pc:sldChg chg="modSp add del mod">
        <pc:chgData name="Fugleberg, Joachim" userId="73a1dab4-12a6-4ca3-ae8d-eba3ed556f21" providerId="ADAL" clId="{6184A56E-980C-4A93-82C1-1315D3F11669}" dt="2024-11-06T10:30:01.249" v="68" actId="404"/>
        <pc:sldMkLst>
          <pc:docMk/>
          <pc:sldMk cId="720935619" sldId="2147196379"/>
        </pc:sldMkLst>
        <pc:spChg chg="mod">
          <ac:chgData name="Fugleberg, Joachim" userId="73a1dab4-12a6-4ca3-ae8d-eba3ed556f21" providerId="ADAL" clId="{6184A56E-980C-4A93-82C1-1315D3F11669}" dt="2024-11-06T10:30:01.249" v="68" actId="404"/>
          <ac:spMkLst>
            <pc:docMk/>
            <pc:sldMk cId="720935619" sldId="2147196379"/>
            <ac:spMk id="2" creationId="{ED93FDE7-6958-47F4-8C98-BB51C03C7C11}"/>
          </ac:spMkLst>
        </pc:spChg>
      </pc:sldChg>
      <pc:sldChg chg="modSp add del mod">
        <pc:chgData name="Fugleberg, Joachim" userId="73a1dab4-12a6-4ca3-ae8d-eba3ed556f21" providerId="ADAL" clId="{6184A56E-980C-4A93-82C1-1315D3F11669}" dt="2024-11-06T14:43:24.765" v="108" actId="47"/>
        <pc:sldMkLst>
          <pc:docMk/>
          <pc:sldMk cId="3264627072" sldId="2147469885"/>
        </pc:sldMkLst>
        <pc:spChg chg="mod">
          <ac:chgData name="Fugleberg, Joachim" userId="73a1dab4-12a6-4ca3-ae8d-eba3ed556f21" providerId="ADAL" clId="{6184A56E-980C-4A93-82C1-1315D3F11669}" dt="2024-11-06T14:41:59.713" v="103"/>
          <ac:spMkLst>
            <pc:docMk/>
            <pc:sldMk cId="3264627072" sldId="2147469885"/>
            <ac:spMk id="2" creationId="{F492AA9F-1563-E5EF-E0F3-4724916D57EF}"/>
          </ac:spMkLst>
        </pc:spChg>
      </pc:sldChg>
      <pc:sldChg chg="del">
        <pc:chgData name="Fugleberg, Joachim" userId="73a1dab4-12a6-4ca3-ae8d-eba3ed556f21" providerId="ADAL" clId="{6184A56E-980C-4A93-82C1-1315D3F11669}" dt="2024-11-07T09:46:47.717" v="411" actId="47"/>
        <pc:sldMkLst>
          <pc:docMk/>
          <pc:sldMk cId="793107167" sldId="2147469936"/>
        </pc:sldMkLst>
      </pc:sldChg>
      <pc:sldChg chg="modSp mod ord">
        <pc:chgData name="Fugleberg, Joachim" userId="73a1dab4-12a6-4ca3-ae8d-eba3ed556f21" providerId="ADAL" clId="{6184A56E-980C-4A93-82C1-1315D3F11669}" dt="2024-11-07T09:46:02.447" v="406" actId="20577"/>
        <pc:sldMkLst>
          <pc:docMk/>
          <pc:sldMk cId="386546818" sldId="2147469941"/>
        </pc:sldMkLst>
        <pc:spChg chg="mod">
          <ac:chgData name="Fugleberg, Joachim" userId="73a1dab4-12a6-4ca3-ae8d-eba3ed556f21" providerId="ADAL" clId="{6184A56E-980C-4A93-82C1-1315D3F11669}" dt="2024-11-07T09:46:02.447" v="406" actId="20577"/>
          <ac:spMkLst>
            <pc:docMk/>
            <pc:sldMk cId="386546818" sldId="2147469941"/>
            <ac:spMk id="3" creationId="{9AD5C45B-54CC-5636-CBD5-B0C9540B7B48}"/>
          </ac:spMkLst>
        </pc:spChg>
      </pc:sldChg>
      <pc:sldChg chg="ord">
        <pc:chgData name="Fugleberg, Joachim" userId="73a1dab4-12a6-4ca3-ae8d-eba3ed556f21" providerId="ADAL" clId="{6184A56E-980C-4A93-82C1-1315D3F11669}" dt="2024-11-06T14:59:46.553" v="139"/>
        <pc:sldMkLst>
          <pc:docMk/>
          <pc:sldMk cId="785370672" sldId="2147469980"/>
        </pc:sldMkLst>
      </pc:sldChg>
      <pc:sldChg chg="ord">
        <pc:chgData name="Fugleberg, Joachim" userId="73a1dab4-12a6-4ca3-ae8d-eba3ed556f21" providerId="ADAL" clId="{6184A56E-980C-4A93-82C1-1315D3F11669}" dt="2024-11-06T15:00:59.601" v="143"/>
        <pc:sldMkLst>
          <pc:docMk/>
          <pc:sldMk cId="478019085" sldId="2147470029"/>
        </pc:sldMkLst>
      </pc:sldChg>
      <pc:sldChg chg="modSp add del mod">
        <pc:chgData name="Fugleberg, Joachim" userId="73a1dab4-12a6-4ca3-ae8d-eba3ed556f21" providerId="ADAL" clId="{6184A56E-980C-4A93-82C1-1315D3F11669}" dt="2024-11-06T14:47:10.782" v="116" actId="47"/>
        <pc:sldMkLst>
          <pc:docMk/>
          <pc:sldMk cId="1065222398" sldId="2147470045"/>
        </pc:sldMkLst>
        <pc:spChg chg="mod">
          <ac:chgData name="Fugleberg, Joachim" userId="73a1dab4-12a6-4ca3-ae8d-eba3ed556f21" providerId="ADAL" clId="{6184A56E-980C-4A93-82C1-1315D3F11669}" dt="2024-11-06T14:46:51.324" v="115" actId="20577"/>
          <ac:spMkLst>
            <pc:docMk/>
            <pc:sldMk cId="1065222398" sldId="2147470045"/>
            <ac:spMk id="7" creationId="{566BA79A-3716-BA62-5D8F-ECC981E17504}"/>
          </ac:spMkLst>
        </pc:spChg>
      </pc:sldChg>
      <pc:sldChg chg="add del mod ord modShow">
        <pc:chgData name="Fugleberg, Joachim" userId="73a1dab4-12a6-4ca3-ae8d-eba3ed556f21" providerId="ADAL" clId="{6184A56E-980C-4A93-82C1-1315D3F11669}" dt="2024-11-07T09:18:21.286" v="302"/>
        <pc:sldMkLst>
          <pc:docMk/>
          <pc:sldMk cId="1486423472" sldId="2147470064"/>
        </pc:sldMkLst>
      </pc:sldChg>
      <pc:sldChg chg="modSp mod ord">
        <pc:chgData name="Fugleberg, Joachim" userId="73a1dab4-12a6-4ca3-ae8d-eba3ed556f21" providerId="ADAL" clId="{6184A56E-980C-4A93-82C1-1315D3F11669}" dt="2024-11-07T09:46:28.776" v="410" actId="403"/>
        <pc:sldMkLst>
          <pc:docMk/>
          <pc:sldMk cId="3237557246" sldId="2147470069"/>
        </pc:sldMkLst>
        <pc:spChg chg="mod">
          <ac:chgData name="Fugleberg, Joachim" userId="73a1dab4-12a6-4ca3-ae8d-eba3ed556f21" providerId="ADAL" clId="{6184A56E-980C-4A93-82C1-1315D3F11669}" dt="2024-11-07T09:46:28.776" v="410" actId="403"/>
          <ac:spMkLst>
            <pc:docMk/>
            <pc:sldMk cId="3237557246" sldId="2147470069"/>
            <ac:spMk id="6" creationId="{68784F08-984B-7EBE-574A-D977A4C723D6}"/>
          </ac:spMkLst>
        </pc:spChg>
      </pc:sldChg>
      <pc:sldChg chg="addSp delSp modSp add del mod">
        <pc:chgData name="Fugleberg, Joachim" userId="73a1dab4-12a6-4ca3-ae8d-eba3ed556f21" providerId="ADAL" clId="{6184A56E-980C-4A93-82C1-1315D3F11669}" dt="2024-11-07T10:26:13.473" v="441" actId="20577"/>
        <pc:sldMkLst>
          <pc:docMk/>
          <pc:sldMk cId="1887745569" sldId="2147470075"/>
        </pc:sldMkLst>
        <pc:spChg chg="mod">
          <ac:chgData name="Fugleberg, Joachim" userId="73a1dab4-12a6-4ca3-ae8d-eba3ed556f21" providerId="ADAL" clId="{6184A56E-980C-4A93-82C1-1315D3F11669}" dt="2024-11-07T09:14:58.546" v="280" actId="1076"/>
          <ac:spMkLst>
            <pc:docMk/>
            <pc:sldMk cId="1887745569" sldId="2147470075"/>
            <ac:spMk id="2" creationId="{0A7E07BC-9631-1340-AAFA-FCDC0F03ED77}"/>
          </ac:spMkLst>
        </pc:spChg>
        <pc:spChg chg="del mod">
          <ac:chgData name="Fugleberg, Joachim" userId="73a1dab4-12a6-4ca3-ae8d-eba3ed556f21" providerId="ADAL" clId="{6184A56E-980C-4A93-82C1-1315D3F11669}" dt="2024-11-07T09:13:16.238" v="252" actId="478"/>
          <ac:spMkLst>
            <pc:docMk/>
            <pc:sldMk cId="1887745569" sldId="2147470075"/>
            <ac:spMk id="3" creationId="{E644989B-2AA0-60EF-166F-2D2C717541A0}"/>
          </ac:spMkLst>
        </pc:spChg>
        <pc:spChg chg="add del mod">
          <ac:chgData name="Fugleberg, Joachim" userId="73a1dab4-12a6-4ca3-ae8d-eba3ed556f21" providerId="ADAL" clId="{6184A56E-980C-4A93-82C1-1315D3F11669}" dt="2024-11-07T09:07:32.782" v="202" actId="478"/>
          <ac:spMkLst>
            <pc:docMk/>
            <pc:sldMk cId="1887745569" sldId="2147470075"/>
            <ac:spMk id="4" creationId="{51E9CBCD-913C-F0FF-7585-5FBD2773EE87}"/>
          </ac:spMkLst>
        </pc:spChg>
        <pc:spChg chg="add mod ord">
          <ac:chgData name="Fugleberg, Joachim" userId="73a1dab4-12a6-4ca3-ae8d-eba3ed556f21" providerId="ADAL" clId="{6184A56E-980C-4A93-82C1-1315D3F11669}" dt="2024-11-07T09:07:51.743" v="207" actId="167"/>
          <ac:spMkLst>
            <pc:docMk/>
            <pc:sldMk cId="1887745569" sldId="2147470075"/>
            <ac:spMk id="5" creationId="{5D28A6F7-EBE0-7F0D-86DF-9BC5BA7B54EC}"/>
          </ac:spMkLst>
        </pc:spChg>
        <pc:spChg chg="add del mod">
          <ac:chgData name="Fugleberg, Joachim" userId="73a1dab4-12a6-4ca3-ae8d-eba3ed556f21" providerId="ADAL" clId="{6184A56E-980C-4A93-82C1-1315D3F11669}" dt="2024-11-07T09:13:19.302" v="253" actId="478"/>
          <ac:spMkLst>
            <pc:docMk/>
            <pc:sldMk cId="1887745569" sldId="2147470075"/>
            <ac:spMk id="7" creationId="{C120C6E2-1B8F-70FB-E24C-8F76AF0E2ED6}"/>
          </ac:spMkLst>
        </pc:spChg>
        <pc:graphicFrameChg chg="add mod modGraphic">
          <ac:chgData name="Fugleberg, Joachim" userId="73a1dab4-12a6-4ca3-ae8d-eba3ed556f21" providerId="ADAL" clId="{6184A56E-980C-4A93-82C1-1315D3F11669}" dt="2024-11-07T10:26:13.473" v="441" actId="20577"/>
          <ac:graphicFrameMkLst>
            <pc:docMk/>
            <pc:sldMk cId="1887745569" sldId="2147470075"/>
            <ac:graphicFrameMk id="8" creationId="{5BDB134F-C229-0B75-57FD-EF5DCB02844A}"/>
          </ac:graphicFrameMkLst>
        </pc:graphicFrameChg>
      </pc:sldChg>
      <pc:sldChg chg="del">
        <pc:chgData name="Fugleberg, Joachim" userId="73a1dab4-12a6-4ca3-ae8d-eba3ed556f21" providerId="ADAL" clId="{6184A56E-980C-4A93-82C1-1315D3F11669}" dt="2024-11-07T09:15:51.460" v="295" actId="47"/>
        <pc:sldMkLst>
          <pc:docMk/>
          <pc:sldMk cId="1432956232" sldId="2147470159"/>
        </pc:sldMkLst>
      </pc:sldChg>
      <pc:sldChg chg="modSp mod">
        <pc:chgData name="Fugleberg, Joachim" userId="73a1dab4-12a6-4ca3-ae8d-eba3ed556f21" providerId="ADAL" clId="{6184A56E-980C-4A93-82C1-1315D3F11669}" dt="2024-11-07T09:16:27.744" v="296" actId="207"/>
        <pc:sldMkLst>
          <pc:docMk/>
          <pc:sldMk cId="1479448155" sldId="2147470161"/>
        </pc:sldMkLst>
        <pc:spChg chg="mod">
          <ac:chgData name="Fugleberg, Joachim" userId="73a1dab4-12a6-4ca3-ae8d-eba3ed556f21" providerId="ADAL" clId="{6184A56E-980C-4A93-82C1-1315D3F11669}" dt="2024-11-07T09:16:27.744" v="296" actId="207"/>
          <ac:spMkLst>
            <pc:docMk/>
            <pc:sldMk cId="1479448155" sldId="2147470161"/>
            <ac:spMk id="4" creationId="{D60FC3CB-88E4-BE4C-AD26-9B80AD3AB0BA}"/>
          </ac:spMkLst>
        </pc:spChg>
      </pc:sldChg>
      <pc:sldChg chg="mod modShow">
        <pc:chgData name="Fugleberg, Joachim" userId="73a1dab4-12a6-4ca3-ae8d-eba3ed556f21" providerId="ADAL" clId="{6184A56E-980C-4A93-82C1-1315D3F11669}" dt="2024-11-06T14:56:45.222" v="121" actId="729"/>
        <pc:sldMkLst>
          <pc:docMk/>
          <pc:sldMk cId="1483256586" sldId="2147470164"/>
        </pc:sldMkLst>
      </pc:sldChg>
      <pc:sldChg chg="mod modShow">
        <pc:chgData name="Fugleberg, Joachim" userId="73a1dab4-12a6-4ca3-ae8d-eba3ed556f21" providerId="ADAL" clId="{6184A56E-980C-4A93-82C1-1315D3F11669}" dt="2024-11-06T14:56:45.222" v="121" actId="729"/>
        <pc:sldMkLst>
          <pc:docMk/>
          <pc:sldMk cId="2521138581" sldId="2147470165"/>
        </pc:sldMkLst>
      </pc:sldChg>
      <pc:sldChg chg="mod modShow">
        <pc:chgData name="Fugleberg, Joachim" userId="73a1dab4-12a6-4ca3-ae8d-eba3ed556f21" providerId="ADAL" clId="{6184A56E-980C-4A93-82C1-1315D3F11669}" dt="2024-11-06T14:56:45.222" v="121" actId="729"/>
        <pc:sldMkLst>
          <pc:docMk/>
          <pc:sldMk cId="385667486" sldId="2147470166"/>
        </pc:sldMkLst>
      </pc:sldChg>
      <pc:sldChg chg="addSp delSp modSp del mod setBg">
        <pc:chgData name="Fugleberg, Joachim" userId="73a1dab4-12a6-4ca3-ae8d-eba3ed556f21" providerId="ADAL" clId="{6184A56E-980C-4A93-82C1-1315D3F11669}" dt="2024-11-07T09:12:53.356" v="249" actId="47"/>
        <pc:sldMkLst>
          <pc:docMk/>
          <pc:sldMk cId="492032662" sldId="2147470184"/>
        </pc:sldMkLst>
        <pc:spChg chg="mod">
          <ac:chgData name="Fugleberg, Joachim" userId="73a1dab4-12a6-4ca3-ae8d-eba3ed556f21" providerId="ADAL" clId="{6184A56E-980C-4A93-82C1-1315D3F11669}" dt="2024-11-06T14:58:54.285" v="135" actId="26606"/>
          <ac:spMkLst>
            <pc:docMk/>
            <pc:sldMk cId="492032662" sldId="2147470184"/>
            <ac:spMk id="2" creationId="{4FDF7D24-5686-7B79-4BFC-FAC53BDD0E8C}"/>
          </ac:spMkLst>
        </pc:spChg>
        <pc:spChg chg="add del">
          <ac:chgData name="Fugleberg, Joachim" userId="73a1dab4-12a6-4ca3-ae8d-eba3ed556f21" providerId="ADAL" clId="{6184A56E-980C-4A93-82C1-1315D3F11669}" dt="2024-11-06T14:58:54.285" v="135" actId="26606"/>
          <ac:spMkLst>
            <pc:docMk/>
            <pc:sldMk cId="492032662" sldId="2147470184"/>
            <ac:spMk id="3" creationId="{E28A3B16-9318-2583-77A8-0D7670593FB7}"/>
          </ac:spMkLst>
        </pc:spChg>
        <pc:spChg chg="add del">
          <ac:chgData name="Fugleberg, Joachim" userId="73a1dab4-12a6-4ca3-ae8d-eba3ed556f21" providerId="ADAL" clId="{6184A56E-980C-4A93-82C1-1315D3F11669}" dt="2024-11-06T14:58:33.470" v="126" actId="26606"/>
          <ac:spMkLst>
            <pc:docMk/>
            <pc:sldMk cId="492032662" sldId="2147470184"/>
            <ac:spMk id="8" creationId="{907EF6B7-1338-4443-8C46-6A318D952DFD}"/>
          </ac:spMkLst>
        </pc:spChg>
        <pc:spChg chg="add del">
          <ac:chgData name="Fugleberg, Joachim" userId="73a1dab4-12a6-4ca3-ae8d-eba3ed556f21" providerId="ADAL" clId="{6184A56E-980C-4A93-82C1-1315D3F11669}" dt="2024-11-06T14:58:47.579" v="130" actId="26606"/>
          <ac:spMkLst>
            <pc:docMk/>
            <pc:sldMk cId="492032662" sldId="2147470184"/>
            <ac:spMk id="9" creationId="{BACC6370-2D7E-4714-9D71-7542949D7D5D}"/>
          </ac:spMkLst>
        </pc:spChg>
        <pc:spChg chg="add del">
          <ac:chgData name="Fugleberg, Joachim" userId="73a1dab4-12a6-4ca3-ae8d-eba3ed556f21" providerId="ADAL" clId="{6184A56E-980C-4A93-82C1-1315D3F11669}" dt="2024-11-06T14:58:31.716" v="124" actId="26606"/>
          <ac:spMkLst>
            <pc:docMk/>
            <pc:sldMk cId="492032662" sldId="2147470184"/>
            <ac:spMk id="10" creationId="{E51BA4DF-2BD4-4EC2-B1DB-B27C8AC71864}"/>
          </ac:spMkLst>
        </pc:spChg>
        <pc:spChg chg="add del">
          <ac:chgData name="Fugleberg, Joachim" userId="73a1dab4-12a6-4ca3-ae8d-eba3ed556f21" providerId="ADAL" clId="{6184A56E-980C-4A93-82C1-1315D3F11669}" dt="2024-11-06T14:58:47.579" v="130" actId="26606"/>
          <ac:spMkLst>
            <pc:docMk/>
            <pc:sldMk cId="492032662" sldId="2147470184"/>
            <ac:spMk id="11" creationId="{256B2C21-A230-48C0-8DF1-C46611373C44}"/>
          </ac:spMkLst>
        </pc:spChg>
        <pc:spChg chg="add del">
          <ac:chgData name="Fugleberg, Joachim" userId="73a1dab4-12a6-4ca3-ae8d-eba3ed556f21" providerId="ADAL" clId="{6184A56E-980C-4A93-82C1-1315D3F11669}" dt="2024-11-06T14:58:33.470" v="126" actId="26606"/>
          <ac:spMkLst>
            <pc:docMk/>
            <pc:sldMk cId="492032662" sldId="2147470184"/>
            <ac:spMk id="12" creationId="{081E4A58-353D-44AE-B2FC-2A74E2E400F7}"/>
          </ac:spMkLst>
        </pc:spChg>
        <pc:spChg chg="add del">
          <ac:chgData name="Fugleberg, Joachim" userId="73a1dab4-12a6-4ca3-ae8d-eba3ed556f21" providerId="ADAL" clId="{6184A56E-980C-4A93-82C1-1315D3F11669}" dt="2024-11-06T14:58:33.470" v="126" actId="26606"/>
          <ac:spMkLst>
            <pc:docMk/>
            <pc:sldMk cId="492032662" sldId="2147470184"/>
            <ac:spMk id="13" creationId="{DAAE4CDD-124C-4DCF-9584-B6033B545DD5}"/>
          </ac:spMkLst>
        </pc:spChg>
        <pc:spChg chg="add del">
          <ac:chgData name="Fugleberg, Joachim" userId="73a1dab4-12a6-4ca3-ae8d-eba3ed556f21" providerId="ADAL" clId="{6184A56E-980C-4A93-82C1-1315D3F11669}" dt="2024-11-06T14:58:33.470" v="126" actId="26606"/>
          <ac:spMkLst>
            <pc:docMk/>
            <pc:sldMk cId="492032662" sldId="2147470184"/>
            <ac:spMk id="14" creationId="{E28A3B16-9318-2583-77A8-0D7670593FB7}"/>
          </ac:spMkLst>
        </pc:spChg>
        <pc:spChg chg="add del">
          <ac:chgData name="Fugleberg, Joachim" userId="73a1dab4-12a6-4ca3-ae8d-eba3ed556f21" providerId="ADAL" clId="{6184A56E-980C-4A93-82C1-1315D3F11669}" dt="2024-11-06T14:58:47.579" v="130" actId="26606"/>
          <ac:spMkLst>
            <pc:docMk/>
            <pc:sldMk cId="492032662" sldId="2147470184"/>
            <ac:spMk id="15" creationId="{3150CB11-0C61-439E-910F-5787759E72A0}"/>
          </ac:spMkLst>
        </pc:spChg>
        <pc:spChg chg="add del">
          <ac:chgData name="Fugleberg, Joachim" userId="73a1dab4-12a6-4ca3-ae8d-eba3ed556f21" providerId="ADAL" clId="{6184A56E-980C-4A93-82C1-1315D3F11669}" dt="2024-11-06T14:58:35.258" v="128" actId="26606"/>
          <ac:spMkLst>
            <pc:docMk/>
            <pc:sldMk cId="492032662" sldId="2147470184"/>
            <ac:spMk id="16" creationId="{D93394DA-E684-47C2-9020-13225823F40A}"/>
          </ac:spMkLst>
        </pc:spChg>
        <pc:spChg chg="add del">
          <ac:chgData name="Fugleberg, Joachim" userId="73a1dab4-12a6-4ca3-ae8d-eba3ed556f21" providerId="ADAL" clId="{6184A56E-980C-4A93-82C1-1315D3F11669}" dt="2024-11-06T14:58:47.579" v="130" actId="26606"/>
          <ac:spMkLst>
            <pc:docMk/>
            <pc:sldMk cId="492032662" sldId="2147470184"/>
            <ac:spMk id="19" creationId="{443F2ACA-E6D6-4028-82DD-F03C262D5DE6}"/>
          </ac:spMkLst>
        </pc:spChg>
        <pc:spChg chg="add del">
          <ac:chgData name="Fugleberg, Joachim" userId="73a1dab4-12a6-4ca3-ae8d-eba3ed556f21" providerId="ADAL" clId="{6184A56E-980C-4A93-82C1-1315D3F11669}" dt="2024-11-06T14:58:47.579" v="130" actId="26606"/>
          <ac:spMkLst>
            <pc:docMk/>
            <pc:sldMk cId="492032662" sldId="2147470184"/>
            <ac:spMk id="20" creationId="{3847E18C-932D-4C95-AABA-FEC7C9499AD7}"/>
          </ac:spMkLst>
        </pc:spChg>
        <pc:spChg chg="add del">
          <ac:chgData name="Fugleberg, Joachim" userId="73a1dab4-12a6-4ca3-ae8d-eba3ed556f21" providerId="ADAL" clId="{6184A56E-980C-4A93-82C1-1315D3F11669}" dt="2024-11-06T14:58:47.579" v="130" actId="26606"/>
          <ac:spMkLst>
            <pc:docMk/>
            <pc:sldMk cId="492032662" sldId="2147470184"/>
            <ac:spMk id="21" creationId="{43F8A58B-5155-44CE-A5FF-7647B47D0A7A}"/>
          </ac:spMkLst>
        </pc:spChg>
        <pc:spChg chg="add del">
          <ac:chgData name="Fugleberg, Joachim" userId="73a1dab4-12a6-4ca3-ae8d-eba3ed556f21" providerId="ADAL" clId="{6184A56E-980C-4A93-82C1-1315D3F11669}" dt="2024-11-06T14:58:49.178" v="132" actId="26606"/>
          <ac:spMkLst>
            <pc:docMk/>
            <pc:sldMk cId="492032662" sldId="2147470184"/>
            <ac:spMk id="24" creationId="{D93394DA-E684-47C2-9020-13225823F40A}"/>
          </ac:spMkLst>
        </pc:spChg>
        <pc:spChg chg="add del">
          <ac:chgData name="Fugleberg, Joachim" userId="73a1dab4-12a6-4ca3-ae8d-eba3ed556f21" providerId="ADAL" clId="{6184A56E-980C-4A93-82C1-1315D3F11669}" dt="2024-11-06T14:58:54.238" v="134" actId="26606"/>
          <ac:spMkLst>
            <pc:docMk/>
            <pc:sldMk cId="492032662" sldId="2147470184"/>
            <ac:spMk id="28" creationId="{907EF6B7-1338-4443-8C46-6A318D952DFD}"/>
          </ac:spMkLst>
        </pc:spChg>
        <pc:spChg chg="add del">
          <ac:chgData name="Fugleberg, Joachim" userId="73a1dab4-12a6-4ca3-ae8d-eba3ed556f21" providerId="ADAL" clId="{6184A56E-980C-4A93-82C1-1315D3F11669}" dt="2024-11-06T14:58:54.238" v="134" actId="26606"/>
          <ac:spMkLst>
            <pc:docMk/>
            <pc:sldMk cId="492032662" sldId="2147470184"/>
            <ac:spMk id="29" creationId="{DAAE4CDD-124C-4DCF-9584-B6033B545DD5}"/>
          </ac:spMkLst>
        </pc:spChg>
        <pc:spChg chg="add del">
          <ac:chgData name="Fugleberg, Joachim" userId="73a1dab4-12a6-4ca3-ae8d-eba3ed556f21" providerId="ADAL" clId="{6184A56E-980C-4A93-82C1-1315D3F11669}" dt="2024-11-06T14:58:54.238" v="134" actId="26606"/>
          <ac:spMkLst>
            <pc:docMk/>
            <pc:sldMk cId="492032662" sldId="2147470184"/>
            <ac:spMk id="30" creationId="{081E4A58-353D-44AE-B2FC-2A74E2E400F7}"/>
          </ac:spMkLst>
        </pc:spChg>
        <pc:spChg chg="add del">
          <ac:chgData name="Fugleberg, Joachim" userId="73a1dab4-12a6-4ca3-ae8d-eba3ed556f21" providerId="ADAL" clId="{6184A56E-980C-4A93-82C1-1315D3F11669}" dt="2024-11-06T14:58:54.238" v="134" actId="26606"/>
          <ac:spMkLst>
            <pc:docMk/>
            <pc:sldMk cId="492032662" sldId="2147470184"/>
            <ac:spMk id="31" creationId="{E28A3B16-9318-2583-77A8-0D7670593FB7}"/>
          </ac:spMkLst>
        </pc:spChg>
        <pc:spChg chg="add">
          <ac:chgData name="Fugleberg, Joachim" userId="73a1dab4-12a6-4ca3-ae8d-eba3ed556f21" providerId="ADAL" clId="{6184A56E-980C-4A93-82C1-1315D3F11669}" dt="2024-11-06T14:58:54.285" v="135" actId="26606"/>
          <ac:spMkLst>
            <pc:docMk/>
            <pc:sldMk cId="492032662" sldId="2147470184"/>
            <ac:spMk id="33" creationId="{E51BA4DF-2BD4-4EC2-B1DB-B27C8AC71864}"/>
          </ac:spMkLst>
        </pc:spChg>
        <pc:graphicFrameChg chg="add del">
          <ac:chgData name="Fugleberg, Joachim" userId="73a1dab4-12a6-4ca3-ae8d-eba3ed556f21" providerId="ADAL" clId="{6184A56E-980C-4A93-82C1-1315D3F11669}" dt="2024-11-06T14:58:31.716" v="124" actId="26606"/>
          <ac:graphicFrameMkLst>
            <pc:docMk/>
            <pc:sldMk cId="492032662" sldId="2147470184"/>
            <ac:graphicFrameMk id="5" creationId="{99BC7EC3-A85F-EC17-027F-03BB1990A925}"/>
          </ac:graphicFrameMkLst>
        </pc:graphicFrameChg>
        <pc:graphicFrameChg chg="add del">
          <ac:chgData name="Fugleberg, Joachim" userId="73a1dab4-12a6-4ca3-ae8d-eba3ed556f21" providerId="ADAL" clId="{6184A56E-980C-4A93-82C1-1315D3F11669}" dt="2024-11-06T14:58:35.258" v="128" actId="26606"/>
          <ac:graphicFrameMkLst>
            <pc:docMk/>
            <pc:sldMk cId="492032662" sldId="2147470184"/>
            <ac:graphicFrameMk id="18" creationId="{9C042AC2-76B6-595D-BE52-5901DCE335F6}"/>
          </ac:graphicFrameMkLst>
        </pc:graphicFrameChg>
        <pc:graphicFrameChg chg="add del">
          <ac:chgData name="Fugleberg, Joachim" userId="73a1dab4-12a6-4ca3-ae8d-eba3ed556f21" providerId="ADAL" clId="{6184A56E-980C-4A93-82C1-1315D3F11669}" dt="2024-11-06T14:58:47.579" v="130" actId="26606"/>
          <ac:graphicFrameMkLst>
            <pc:docMk/>
            <pc:sldMk cId="492032662" sldId="2147470184"/>
            <ac:graphicFrameMk id="22" creationId="{1C2A4A78-8C1E-59D2-D62C-E07B4406160F}"/>
          </ac:graphicFrameMkLst>
        </pc:graphicFrameChg>
        <pc:graphicFrameChg chg="add del">
          <ac:chgData name="Fugleberg, Joachim" userId="73a1dab4-12a6-4ca3-ae8d-eba3ed556f21" providerId="ADAL" clId="{6184A56E-980C-4A93-82C1-1315D3F11669}" dt="2024-11-06T14:58:49.178" v="132" actId="26606"/>
          <ac:graphicFrameMkLst>
            <pc:docMk/>
            <pc:sldMk cId="492032662" sldId="2147470184"/>
            <ac:graphicFrameMk id="26" creationId="{9C042AC2-76B6-595D-BE52-5901DCE335F6}"/>
          </ac:graphicFrameMkLst>
        </pc:graphicFrameChg>
        <pc:graphicFrameChg chg="add">
          <ac:chgData name="Fugleberg, Joachim" userId="73a1dab4-12a6-4ca3-ae8d-eba3ed556f21" providerId="ADAL" clId="{6184A56E-980C-4A93-82C1-1315D3F11669}" dt="2024-11-06T14:58:54.285" v="135" actId="26606"/>
          <ac:graphicFrameMkLst>
            <pc:docMk/>
            <pc:sldMk cId="492032662" sldId="2147470184"/>
            <ac:graphicFrameMk id="35" creationId="{99BC7EC3-A85F-EC17-027F-03BB1990A925}"/>
          </ac:graphicFrameMkLst>
        </pc:graphicFrameChg>
        <pc:picChg chg="add del">
          <ac:chgData name="Fugleberg, Joachim" userId="73a1dab4-12a6-4ca3-ae8d-eba3ed556f21" providerId="ADAL" clId="{6184A56E-980C-4A93-82C1-1315D3F11669}" dt="2024-11-06T14:58:31.716" v="124" actId="26606"/>
          <ac:picMkLst>
            <pc:docMk/>
            <pc:sldMk cId="492032662" sldId="2147470184"/>
            <ac:picMk id="6" creationId="{802CC300-09E8-AA15-B520-1D07D772460D}"/>
          </ac:picMkLst>
        </pc:picChg>
        <pc:picChg chg="add del">
          <ac:chgData name="Fugleberg, Joachim" userId="73a1dab4-12a6-4ca3-ae8d-eba3ed556f21" providerId="ADAL" clId="{6184A56E-980C-4A93-82C1-1315D3F11669}" dt="2024-11-06T14:58:35.258" v="128" actId="26606"/>
          <ac:picMkLst>
            <pc:docMk/>
            <pc:sldMk cId="492032662" sldId="2147470184"/>
            <ac:picMk id="17" creationId="{0969EFA0-4CE2-B464-E460-C31F3311E5E6}"/>
          </ac:picMkLst>
        </pc:picChg>
        <pc:picChg chg="add del">
          <ac:chgData name="Fugleberg, Joachim" userId="73a1dab4-12a6-4ca3-ae8d-eba3ed556f21" providerId="ADAL" clId="{6184A56E-980C-4A93-82C1-1315D3F11669}" dt="2024-11-06T14:58:49.178" v="132" actId="26606"/>
          <ac:picMkLst>
            <pc:docMk/>
            <pc:sldMk cId="492032662" sldId="2147470184"/>
            <ac:picMk id="25" creationId="{0969EFA0-4CE2-B464-E460-C31F3311E5E6}"/>
          </ac:picMkLst>
        </pc:picChg>
        <pc:picChg chg="add">
          <ac:chgData name="Fugleberg, Joachim" userId="73a1dab4-12a6-4ca3-ae8d-eba3ed556f21" providerId="ADAL" clId="{6184A56E-980C-4A93-82C1-1315D3F11669}" dt="2024-11-06T14:58:54.285" v="135" actId="26606"/>
          <ac:picMkLst>
            <pc:docMk/>
            <pc:sldMk cId="492032662" sldId="2147470184"/>
            <ac:picMk id="34" creationId="{802CC300-09E8-AA15-B520-1D07D772460D}"/>
          </ac:picMkLst>
        </pc:picChg>
      </pc:sldChg>
      <pc:sldChg chg="del">
        <pc:chgData name="Fugleberg, Joachim" userId="73a1dab4-12a6-4ca3-ae8d-eba3ed556f21" providerId="ADAL" clId="{6184A56E-980C-4A93-82C1-1315D3F11669}" dt="2024-11-07T09:21:26.961" v="316" actId="47"/>
        <pc:sldMkLst>
          <pc:docMk/>
          <pc:sldMk cId="3948718110" sldId="2147470190"/>
        </pc:sldMkLst>
      </pc:sldChg>
      <pc:sldChg chg="del">
        <pc:chgData name="Fugleberg, Joachim" userId="73a1dab4-12a6-4ca3-ae8d-eba3ed556f21" providerId="ADAL" clId="{6184A56E-980C-4A93-82C1-1315D3F11669}" dt="2024-11-07T09:21:26.961" v="316" actId="47"/>
        <pc:sldMkLst>
          <pc:docMk/>
          <pc:sldMk cId="1685253092" sldId="2147470191"/>
        </pc:sldMkLst>
      </pc:sldChg>
      <pc:sldChg chg="del">
        <pc:chgData name="Fugleberg, Joachim" userId="73a1dab4-12a6-4ca3-ae8d-eba3ed556f21" providerId="ADAL" clId="{6184A56E-980C-4A93-82C1-1315D3F11669}" dt="2024-11-07T09:21:26.961" v="316" actId="47"/>
        <pc:sldMkLst>
          <pc:docMk/>
          <pc:sldMk cId="3306828389" sldId="2147470202"/>
        </pc:sldMkLst>
      </pc:sldChg>
      <pc:sldChg chg="del">
        <pc:chgData name="Fugleberg, Joachim" userId="73a1dab4-12a6-4ca3-ae8d-eba3ed556f21" providerId="ADAL" clId="{6184A56E-980C-4A93-82C1-1315D3F11669}" dt="2024-11-07T09:21:26.961" v="316" actId="47"/>
        <pc:sldMkLst>
          <pc:docMk/>
          <pc:sldMk cId="1168780679" sldId="2147470205"/>
        </pc:sldMkLst>
      </pc:sldChg>
      <pc:sldChg chg="modSp mod">
        <pc:chgData name="Fugleberg, Joachim" userId="73a1dab4-12a6-4ca3-ae8d-eba3ed556f21" providerId="ADAL" clId="{6184A56E-980C-4A93-82C1-1315D3F11669}" dt="2024-11-07T09:17:07.254" v="299" actId="207"/>
        <pc:sldMkLst>
          <pc:docMk/>
          <pc:sldMk cId="693313235" sldId="2147470206"/>
        </pc:sldMkLst>
        <pc:spChg chg="mod">
          <ac:chgData name="Fugleberg, Joachim" userId="73a1dab4-12a6-4ca3-ae8d-eba3ed556f21" providerId="ADAL" clId="{6184A56E-980C-4A93-82C1-1315D3F11669}" dt="2024-11-07T09:17:07.254" v="299" actId="207"/>
          <ac:spMkLst>
            <pc:docMk/>
            <pc:sldMk cId="693313235" sldId="2147470206"/>
            <ac:spMk id="4" creationId="{D60FC3CB-88E4-BE4C-AD26-9B80AD3AB0BA}"/>
          </ac:spMkLst>
        </pc:spChg>
      </pc:sldChg>
      <pc:sldChg chg="del">
        <pc:chgData name="Fugleberg, Joachim" userId="73a1dab4-12a6-4ca3-ae8d-eba3ed556f21" providerId="ADAL" clId="{6184A56E-980C-4A93-82C1-1315D3F11669}" dt="2024-11-07T09:21:26.961" v="316" actId="47"/>
        <pc:sldMkLst>
          <pc:docMk/>
          <pc:sldMk cId="887904700" sldId="2147470207"/>
        </pc:sldMkLst>
      </pc:sldChg>
      <pc:sldChg chg="modAnim">
        <pc:chgData name="Fugleberg, Joachim" userId="73a1dab4-12a6-4ca3-ae8d-eba3ed556f21" providerId="ADAL" clId="{6184A56E-980C-4A93-82C1-1315D3F11669}" dt="2024-11-07T09:36:55.872" v="340"/>
        <pc:sldMkLst>
          <pc:docMk/>
          <pc:sldMk cId="3169985856" sldId="2147470213"/>
        </pc:sldMkLst>
      </pc:sldChg>
      <pc:sldChg chg="modSp mod">
        <pc:chgData name="Fugleberg, Joachim" userId="73a1dab4-12a6-4ca3-ae8d-eba3ed556f21" providerId="ADAL" clId="{6184A56E-980C-4A93-82C1-1315D3F11669}" dt="2024-11-06T15:01:08.329" v="152" actId="20577"/>
        <pc:sldMkLst>
          <pc:docMk/>
          <pc:sldMk cId="2242478135" sldId="2147470216"/>
        </pc:sldMkLst>
        <pc:spChg chg="mod">
          <ac:chgData name="Fugleberg, Joachim" userId="73a1dab4-12a6-4ca3-ae8d-eba3ed556f21" providerId="ADAL" clId="{6184A56E-980C-4A93-82C1-1315D3F11669}" dt="2024-11-06T15:01:08.329" v="152" actId="20577"/>
          <ac:spMkLst>
            <pc:docMk/>
            <pc:sldMk cId="2242478135" sldId="2147470216"/>
            <ac:spMk id="2" creationId="{05CBEB06-7B61-0380-3D51-015BC105A263}"/>
          </ac:spMkLst>
        </pc:spChg>
      </pc:sldChg>
      <pc:sldChg chg="modSp add del mod">
        <pc:chgData name="Fugleberg, Joachim" userId="73a1dab4-12a6-4ca3-ae8d-eba3ed556f21" providerId="ADAL" clId="{6184A56E-980C-4A93-82C1-1315D3F11669}" dt="2024-11-07T09:50:52.111" v="412" actId="113"/>
        <pc:sldMkLst>
          <pc:docMk/>
          <pc:sldMk cId="2403484222" sldId="2147470218"/>
        </pc:sldMkLst>
        <pc:spChg chg="mod">
          <ac:chgData name="Fugleberg, Joachim" userId="73a1dab4-12a6-4ca3-ae8d-eba3ed556f21" providerId="ADAL" clId="{6184A56E-980C-4A93-82C1-1315D3F11669}" dt="2024-11-07T09:50:52.111" v="412" actId="113"/>
          <ac:spMkLst>
            <pc:docMk/>
            <pc:sldMk cId="2403484222" sldId="2147470218"/>
            <ac:spMk id="2" creationId="{B676C64D-4219-69BE-4EBD-F52E770F7AC5}"/>
          </ac:spMkLst>
        </pc:spChg>
        <pc:graphicFrameChg chg="mod">
          <ac:chgData name="Fugleberg, Joachim" userId="73a1dab4-12a6-4ca3-ae8d-eba3ed556f21" providerId="ADAL" clId="{6184A56E-980C-4A93-82C1-1315D3F11669}" dt="2024-11-06T10:38:03.406" v="96" actId="207"/>
          <ac:graphicFrameMkLst>
            <pc:docMk/>
            <pc:sldMk cId="2403484222" sldId="2147470218"/>
            <ac:graphicFrameMk id="5" creationId="{F870E9BF-E181-0A9F-524F-2BDFCBA48793}"/>
          </ac:graphicFrameMkLst>
        </pc:graphicFrameChg>
      </pc:sldChg>
      <pc:sldChg chg="add del">
        <pc:chgData name="Fugleberg, Joachim" userId="73a1dab4-12a6-4ca3-ae8d-eba3ed556f21" providerId="ADAL" clId="{6184A56E-980C-4A93-82C1-1315D3F11669}" dt="2024-11-06T14:43:23.185" v="106"/>
        <pc:sldMkLst>
          <pc:docMk/>
          <pc:sldMk cId="3380101230" sldId="2147470219"/>
        </pc:sldMkLst>
      </pc:sldChg>
      <pc:sldChg chg="add">
        <pc:chgData name="Fugleberg, Joachim" userId="73a1dab4-12a6-4ca3-ae8d-eba3ed556f21" providerId="ADAL" clId="{6184A56E-980C-4A93-82C1-1315D3F11669}" dt="2024-11-06T14:43:23.223" v="107"/>
        <pc:sldMkLst>
          <pc:docMk/>
          <pc:sldMk cId="4267220459" sldId="2147470219"/>
        </pc:sldMkLst>
      </pc:sldChg>
      <pc:sldChg chg="add setBg">
        <pc:chgData name="Fugleberg, Joachim" userId="73a1dab4-12a6-4ca3-ae8d-eba3ed556f21" providerId="ADAL" clId="{6184A56E-980C-4A93-82C1-1315D3F11669}" dt="2024-11-07T09:16:55.155" v="298"/>
        <pc:sldMkLst>
          <pc:docMk/>
          <pc:sldMk cId="712048814" sldId="2147470220"/>
        </pc:sldMkLst>
      </pc:sldChg>
      <pc:sldChg chg="add del">
        <pc:chgData name="Fugleberg, Joachim" userId="73a1dab4-12a6-4ca3-ae8d-eba3ed556f21" providerId="ADAL" clId="{6184A56E-980C-4A93-82C1-1315D3F11669}" dt="2024-11-07T09:12:56.123" v="250" actId="47"/>
        <pc:sldMkLst>
          <pc:docMk/>
          <pc:sldMk cId="3910748461" sldId="2147470220"/>
        </pc:sldMkLst>
      </pc:sldChg>
      <pc:sldChg chg="add del">
        <pc:chgData name="Fugleberg, Joachim" userId="73a1dab4-12a6-4ca3-ae8d-eba3ed556f21" providerId="ADAL" clId="{6184A56E-980C-4A93-82C1-1315D3F11669}" dt="2024-11-07T09:12:51.730" v="248" actId="47"/>
        <pc:sldMkLst>
          <pc:docMk/>
          <pc:sldMk cId="2326548579" sldId="2147470221"/>
        </pc:sldMkLst>
      </pc:sldChg>
      <pc:sldChg chg="add">
        <pc:chgData name="Fugleberg, Joachim" userId="73a1dab4-12a6-4ca3-ae8d-eba3ed556f21" providerId="ADAL" clId="{6184A56E-980C-4A93-82C1-1315D3F11669}" dt="2024-11-07T09:18:46.373" v="305"/>
        <pc:sldMkLst>
          <pc:docMk/>
          <pc:sldMk cId="2619392530" sldId="2147470221"/>
        </pc:sldMkLst>
      </pc:sldChg>
      <pc:sldChg chg="add del">
        <pc:chgData name="Fugleberg, Joachim" userId="73a1dab4-12a6-4ca3-ae8d-eba3ed556f21" providerId="ADAL" clId="{6184A56E-980C-4A93-82C1-1315D3F11669}" dt="2024-11-07T09:18:46.373" v="304"/>
        <pc:sldMkLst>
          <pc:docMk/>
          <pc:sldMk cId="3368558444" sldId="2147470221"/>
        </pc:sldMkLst>
      </pc:sldChg>
      <pc:sldChg chg="add del">
        <pc:chgData name="Fugleberg, Joachim" userId="73a1dab4-12a6-4ca3-ae8d-eba3ed556f21" providerId="ADAL" clId="{6184A56E-980C-4A93-82C1-1315D3F11669}" dt="2024-11-07T09:19:30.279" v="307"/>
        <pc:sldMkLst>
          <pc:docMk/>
          <pc:sldMk cId="2245147214" sldId="2147470222"/>
        </pc:sldMkLst>
      </pc:sldChg>
      <pc:sldChg chg="add">
        <pc:chgData name="Fugleberg, Joachim" userId="73a1dab4-12a6-4ca3-ae8d-eba3ed556f21" providerId="ADAL" clId="{6184A56E-980C-4A93-82C1-1315D3F11669}" dt="2024-11-07T09:19:30.294" v="308"/>
        <pc:sldMkLst>
          <pc:docMk/>
          <pc:sldMk cId="4154164123" sldId="2147470222"/>
        </pc:sldMkLst>
      </pc:sldChg>
      <pc:sldChg chg="add">
        <pc:chgData name="Fugleberg, Joachim" userId="73a1dab4-12a6-4ca3-ae8d-eba3ed556f21" providerId="ADAL" clId="{6184A56E-980C-4A93-82C1-1315D3F11669}" dt="2024-11-07T09:19:30.294" v="308"/>
        <pc:sldMkLst>
          <pc:docMk/>
          <pc:sldMk cId="1948015011" sldId="2147470223"/>
        </pc:sldMkLst>
      </pc:sldChg>
      <pc:sldChg chg="add del">
        <pc:chgData name="Fugleberg, Joachim" userId="73a1dab4-12a6-4ca3-ae8d-eba3ed556f21" providerId="ADAL" clId="{6184A56E-980C-4A93-82C1-1315D3F11669}" dt="2024-11-07T09:19:30.279" v="307"/>
        <pc:sldMkLst>
          <pc:docMk/>
          <pc:sldMk cId="2255562574" sldId="2147470223"/>
        </pc:sldMkLst>
      </pc:sldChg>
      <pc:sldChg chg="add del">
        <pc:chgData name="Fugleberg, Joachim" userId="73a1dab4-12a6-4ca3-ae8d-eba3ed556f21" providerId="ADAL" clId="{6184A56E-980C-4A93-82C1-1315D3F11669}" dt="2024-11-07T09:19:30.279" v="307"/>
        <pc:sldMkLst>
          <pc:docMk/>
          <pc:sldMk cId="818071175" sldId="2147470224"/>
        </pc:sldMkLst>
      </pc:sldChg>
      <pc:sldChg chg="modSp add mod modNotesTx">
        <pc:chgData name="Fugleberg, Joachim" userId="73a1dab4-12a6-4ca3-ae8d-eba3ed556f21" providerId="ADAL" clId="{6184A56E-980C-4A93-82C1-1315D3F11669}" dt="2024-11-07T09:39:54.572" v="404" actId="20577"/>
        <pc:sldMkLst>
          <pc:docMk/>
          <pc:sldMk cId="3375589869" sldId="2147470224"/>
        </pc:sldMkLst>
        <pc:spChg chg="mod">
          <ac:chgData name="Fugleberg, Joachim" userId="73a1dab4-12a6-4ca3-ae8d-eba3ed556f21" providerId="ADAL" clId="{6184A56E-980C-4A93-82C1-1315D3F11669}" dt="2024-11-07T09:36:15.859" v="339" actId="20577"/>
          <ac:spMkLst>
            <pc:docMk/>
            <pc:sldMk cId="3375589869" sldId="2147470224"/>
            <ac:spMk id="3" creationId="{F4C02B7A-FA47-C5CE-947D-F22BEC430F28}"/>
          </ac:spMkLst>
        </pc:spChg>
      </pc:sldChg>
      <pc:sldChg chg="add del">
        <pc:chgData name="Fugleberg, Joachim" userId="73a1dab4-12a6-4ca3-ae8d-eba3ed556f21" providerId="ADAL" clId="{6184A56E-980C-4A93-82C1-1315D3F11669}" dt="2024-11-07T09:19:30.279" v="307"/>
        <pc:sldMkLst>
          <pc:docMk/>
          <pc:sldMk cId="336675816" sldId="2147470225"/>
        </pc:sldMkLst>
      </pc:sldChg>
      <pc:sldChg chg="modSp add mod modShow">
        <pc:chgData name="Fugleberg, Joachim" userId="73a1dab4-12a6-4ca3-ae8d-eba3ed556f21" providerId="ADAL" clId="{6184A56E-980C-4A93-82C1-1315D3F11669}" dt="2024-11-07T09:21:09.140" v="315" actId="729"/>
        <pc:sldMkLst>
          <pc:docMk/>
          <pc:sldMk cId="3032927430" sldId="2147470225"/>
        </pc:sldMkLst>
        <pc:spChg chg="mod">
          <ac:chgData name="Fugleberg, Joachim" userId="73a1dab4-12a6-4ca3-ae8d-eba3ed556f21" providerId="ADAL" clId="{6184A56E-980C-4A93-82C1-1315D3F11669}" dt="2024-11-07T09:20:39.980" v="313" actId="14100"/>
          <ac:spMkLst>
            <pc:docMk/>
            <pc:sldMk cId="3032927430" sldId="2147470225"/>
            <ac:spMk id="2" creationId="{B639ED35-02A9-4C66-EE84-2EB0DD30AE1D}"/>
          </ac:spMkLst>
        </pc:spChg>
      </pc:sldChg>
      <pc:sldChg chg="add del">
        <pc:chgData name="Fugleberg, Joachim" userId="73a1dab4-12a6-4ca3-ae8d-eba3ed556f21" providerId="ADAL" clId="{6184A56E-980C-4A93-82C1-1315D3F11669}" dt="2024-11-07T09:19:30.279" v="307"/>
        <pc:sldMkLst>
          <pc:docMk/>
          <pc:sldMk cId="1974097569" sldId="2147470226"/>
        </pc:sldMkLst>
      </pc:sldChg>
      <pc:sldChg chg="modSp add mod modShow">
        <pc:chgData name="Fugleberg, Joachim" userId="73a1dab4-12a6-4ca3-ae8d-eba3ed556f21" providerId="ADAL" clId="{6184A56E-980C-4A93-82C1-1315D3F11669}" dt="2024-11-07T09:21:09.140" v="315" actId="729"/>
        <pc:sldMkLst>
          <pc:docMk/>
          <pc:sldMk cId="3615512513" sldId="2147470226"/>
        </pc:sldMkLst>
        <pc:spChg chg="mod">
          <ac:chgData name="Fugleberg, Joachim" userId="73a1dab4-12a6-4ca3-ae8d-eba3ed556f21" providerId="ADAL" clId="{6184A56E-980C-4A93-82C1-1315D3F11669}" dt="2024-11-07T09:20:55.485" v="314" actId="20577"/>
          <ac:spMkLst>
            <pc:docMk/>
            <pc:sldMk cId="3615512513" sldId="2147470226"/>
            <ac:spMk id="2" creationId="{518507DF-3E26-3BD7-8585-79F2FDD9C34A}"/>
          </ac:spMkLst>
        </pc:spChg>
      </pc:sldChg>
      <pc:sldMasterChg chg="delSldLayout">
        <pc:chgData name="Fugleberg, Joachim" userId="73a1dab4-12a6-4ca3-ae8d-eba3ed556f21" providerId="ADAL" clId="{6184A56E-980C-4A93-82C1-1315D3F11669}" dt="2024-11-06T10:29:11.392" v="3" actId="47"/>
        <pc:sldMasterMkLst>
          <pc:docMk/>
          <pc:sldMasterMk cId="3188297551" sldId="2147483751"/>
        </pc:sldMasterMkLst>
        <pc:sldLayoutChg chg="del">
          <pc:chgData name="Fugleberg, Joachim" userId="73a1dab4-12a6-4ca3-ae8d-eba3ed556f21" providerId="ADAL" clId="{6184A56E-980C-4A93-82C1-1315D3F11669}" dt="2024-11-06T10:29:11.392" v="3" actId="47"/>
          <pc:sldLayoutMkLst>
            <pc:docMk/>
            <pc:sldMasterMk cId="3188297551" sldId="2147483751"/>
            <pc:sldLayoutMk cId="1643574057" sldId="2147483763"/>
          </pc:sldLayoutMkLst>
        </pc:sldLayoutChg>
      </pc:sldMasterChg>
      <pc:sldMasterChg chg="delSldLayout">
        <pc:chgData name="Fugleberg, Joachim" userId="73a1dab4-12a6-4ca3-ae8d-eba3ed556f21" providerId="ADAL" clId="{6184A56E-980C-4A93-82C1-1315D3F11669}" dt="2024-11-07T09:15:51.460" v="295" actId="47"/>
        <pc:sldMasterMkLst>
          <pc:docMk/>
          <pc:sldMasterMk cId="2574490014" sldId="2147483839"/>
        </pc:sldMasterMkLst>
        <pc:sldLayoutChg chg="del">
          <pc:chgData name="Fugleberg, Joachim" userId="73a1dab4-12a6-4ca3-ae8d-eba3ed556f21" providerId="ADAL" clId="{6184A56E-980C-4A93-82C1-1315D3F11669}" dt="2024-11-07T09:15:51.460" v="295" actId="47"/>
          <pc:sldLayoutMkLst>
            <pc:docMk/>
            <pc:sldMasterMk cId="2574490014" sldId="2147483839"/>
            <pc:sldLayoutMk cId="3615060285" sldId="2147483841"/>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svg"/><Relationship Id="rId1" Type="http://schemas.openxmlformats.org/officeDocument/2006/relationships/image" Target="../media/image45.png"/><Relationship Id="rId4" Type="http://schemas.openxmlformats.org/officeDocument/2006/relationships/image" Target="../media/image48.svg"/></Relationships>
</file>

<file path=ppt/diagrams/_rels/data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ata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diagrams/_rels/data4.xml.rels><?xml version="1.0" encoding="UTF-8" standalone="yes"?>
<Relationships xmlns="http://schemas.openxmlformats.org/package/2006/relationships"><Relationship Id="rId2" Type="http://schemas.openxmlformats.org/officeDocument/2006/relationships/image" Target="../media/image77.svg"/><Relationship Id="rId1" Type="http://schemas.openxmlformats.org/officeDocument/2006/relationships/image" Target="../media/image76.png"/></Relationships>
</file>

<file path=ppt/diagrams/_rels/data5.xml.rels><?xml version="1.0" encoding="UTF-8" standalone="yes"?>
<Relationships xmlns="http://schemas.openxmlformats.org/package/2006/relationships"><Relationship Id="rId2" Type="http://schemas.openxmlformats.org/officeDocument/2006/relationships/image" Target="../media/image81.svg"/><Relationship Id="rId1" Type="http://schemas.openxmlformats.org/officeDocument/2006/relationships/image" Target="../media/image80.png"/></Relationships>
</file>

<file path=ppt/diagrams/_rels/data6.xml.rels><?xml version="1.0" encoding="UTF-8" standalone="yes"?>
<Relationships xmlns="http://schemas.openxmlformats.org/package/2006/relationships"><Relationship Id="rId2" Type="http://schemas.openxmlformats.org/officeDocument/2006/relationships/image" Target="../media/image79.svg"/><Relationship Id="rId1" Type="http://schemas.openxmlformats.org/officeDocument/2006/relationships/image" Target="../media/image7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svg"/><Relationship Id="rId1" Type="http://schemas.openxmlformats.org/officeDocument/2006/relationships/image" Target="../media/image45.png"/><Relationship Id="rId4" Type="http://schemas.openxmlformats.org/officeDocument/2006/relationships/image" Target="../media/image4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svg"/><Relationship Id="rId1" Type="http://schemas.openxmlformats.org/officeDocument/2006/relationships/image" Target="../media/image54.png"/><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diagrams/_rels/drawing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diagrams/_rels/drawing4.xml.rels><?xml version="1.0" encoding="UTF-8" standalone="yes"?>
<Relationships xmlns="http://schemas.openxmlformats.org/package/2006/relationships"><Relationship Id="rId2" Type="http://schemas.openxmlformats.org/officeDocument/2006/relationships/image" Target="../media/image77.svg"/><Relationship Id="rId1" Type="http://schemas.openxmlformats.org/officeDocument/2006/relationships/image" Target="../media/image76.png"/></Relationships>
</file>

<file path=ppt/diagrams/_rels/drawing5.xml.rels><?xml version="1.0" encoding="UTF-8" standalone="yes"?>
<Relationships xmlns="http://schemas.openxmlformats.org/package/2006/relationships"><Relationship Id="rId2" Type="http://schemas.openxmlformats.org/officeDocument/2006/relationships/image" Target="../media/image81.svg"/><Relationship Id="rId1" Type="http://schemas.openxmlformats.org/officeDocument/2006/relationships/image" Target="../media/image80.png"/></Relationships>
</file>

<file path=ppt/diagrams/_rels/drawing6.xml.rels><?xml version="1.0" encoding="UTF-8" standalone="yes"?>
<Relationships xmlns="http://schemas.openxmlformats.org/package/2006/relationships"><Relationship Id="rId2" Type="http://schemas.openxmlformats.org/officeDocument/2006/relationships/image" Target="../media/image79.svg"/><Relationship Id="rId1" Type="http://schemas.openxmlformats.org/officeDocument/2006/relationships/image" Target="../media/image78.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F82D16-B78E-4C26-BC25-53D7F27F00DA}"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33AB8FA1-6D35-417D-A5CB-B9570A76F12E}">
      <dgm:prSet/>
      <dgm:spPr/>
      <dgm:t>
        <a:bodyPr/>
        <a:lstStyle/>
        <a:p>
          <a:r>
            <a:rPr lang="en-US" err="1"/>
            <a:t>Strategisk</a:t>
          </a:r>
          <a:r>
            <a:rPr lang="en-US"/>
            <a:t> </a:t>
          </a:r>
          <a:r>
            <a:rPr lang="en-US" err="1"/>
            <a:t>samarbeidsråd</a:t>
          </a:r>
          <a:r>
            <a:rPr lang="en-US"/>
            <a:t> </a:t>
          </a:r>
          <a:r>
            <a:rPr lang="en-US" err="1"/>
            <a:t>og</a:t>
          </a:r>
          <a:r>
            <a:rPr lang="en-US"/>
            <a:t> </a:t>
          </a:r>
          <a:r>
            <a:rPr lang="en-US" err="1"/>
            <a:t>rådgivende</a:t>
          </a:r>
          <a:r>
            <a:rPr lang="en-US"/>
            <a:t> organ</a:t>
          </a:r>
        </a:p>
      </dgm:t>
    </dgm:pt>
    <dgm:pt modelId="{9E93C870-DBF2-43D1-8999-E88C8A80F543}" type="parTrans" cxnId="{F3781DF9-0385-4306-A718-3EB4033F144E}">
      <dgm:prSet/>
      <dgm:spPr/>
      <dgm:t>
        <a:bodyPr/>
        <a:lstStyle/>
        <a:p>
          <a:endParaRPr lang="en-US"/>
        </a:p>
      </dgm:t>
    </dgm:pt>
    <dgm:pt modelId="{FA5790D1-A0F6-4874-9853-82D1861EDABD}" type="sibTrans" cxnId="{F3781DF9-0385-4306-A718-3EB4033F144E}">
      <dgm:prSet/>
      <dgm:spPr/>
      <dgm:t>
        <a:bodyPr/>
        <a:lstStyle/>
        <a:p>
          <a:endParaRPr lang="en-US"/>
        </a:p>
      </dgm:t>
    </dgm:pt>
    <dgm:pt modelId="{BD2C926F-C57D-4561-84C1-E5E4ACCEF548}">
      <dgm:prSet/>
      <dgm:spPr/>
      <dgm:t>
        <a:bodyPr/>
        <a:lstStyle/>
        <a:p>
          <a:r>
            <a:rPr lang="en-US" err="1"/>
            <a:t>Digitaliseringsdirektoratet</a:t>
          </a:r>
          <a:endParaRPr lang="en-US"/>
        </a:p>
      </dgm:t>
    </dgm:pt>
    <dgm:pt modelId="{92827BAB-A1C3-46C4-B82D-93421248C638}" type="parTrans" cxnId="{41B99D0F-8121-49B9-9103-78D2CEC0CBB1}">
      <dgm:prSet/>
      <dgm:spPr/>
      <dgm:t>
        <a:bodyPr/>
        <a:lstStyle/>
        <a:p>
          <a:endParaRPr lang="en-US"/>
        </a:p>
      </dgm:t>
    </dgm:pt>
    <dgm:pt modelId="{E3CEC23B-5E3F-4D6F-A46B-329BE014B33F}" type="sibTrans" cxnId="{41B99D0F-8121-49B9-9103-78D2CEC0CBB1}">
      <dgm:prSet/>
      <dgm:spPr/>
      <dgm:t>
        <a:bodyPr/>
        <a:lstStyle/>
        <a:p>
          <a:endParaRPr lang="en-US"/>
        </a:p>
      </dgm:t>
    </dgm:pt>
    <dgm:pt modelId="{F4402F84-5616-4DBE-A92F-AD5B3749675C}">
      <dgm:prSet/>
      <dgm:spPr/>
      <dgm:t>
        <a:bodyPr/>
        <a:lstStyle/>
        <a:p>
          <a:r>
            <a:rPr lang="en-US" dirty="0" err="1"/>
            <a:t>Digitaliseringsministeren</a:t>
          </a:r>
          <a:endParaRPr lang="en-US" dirty="0"/>
        </a:p>
      </dgm:t>
    </dgm:pt>
    <dgm:pt modelId="{7BB9CC58-F462-41D7-BF7A-ABAE75DF419E}" type="parTrans" cxnId="{6E79B3C1-DFE7-423E-BE6F-C8A2627A9D45}">
      <dgm:prSet/>
      <dgm:spPr/>
      <dgm:t>
        <a:bodyPr/>
        <a:lstStyle/>
        <a:p>
          <a:endParaRPr lang="en-US"/>
        </a:p>
      </dgm:t>
    </dgm:pt>
    <dgm:pt modelId="{4B853A5F-9035-4260-8688-96B087C4AEB8}" type="sibTrans" cxnId="{6E79B3C1-DFE7-423E-BE6F-C8A2627A9D45}">
      <dgm:prSet/>
      <dgm:spPr/>
      <dgm:t>
        <a:bodyPr/>
        <a:lstStyle/>
        <a:p>
          <a:endParaRPr lang="en-US"/>
        </a:p>
      </dgm:t>
    </dgm:pt>
    <dgm:pt modelId="{830C0158-41F5-496C-BF3C-4915376AF777}">
      <dgm:prSet/>
      <dgm:spPr/>
      <dgm:t>
        <a:bodyPr/>
        <a:lstStyle/>
        <a:p>
          <a:r>
            <a:rPr lang="en-US" err="1"/>
            <a:t>Bidra</a:t>
          </a:r>
          <a:r>
            <a:rPr lang="en-US"/>
            <a:t> </a:t>
          </a:r>
          <a:r>
            <a:rPr lang="en-US" err="1"/>
            <a:t>til</a:t>
          </a:r>
          <a:r>
            <a:rPr lang="en-US"/>
            <a:t> </a:t>
          </a:r>
          <a:r>
            <a:rPr lang="en-US" err="1"/>
            <a:t>samordnet</a:t>
          </a:r>
          <a:r>
            <a:rPr lang="en-US"/>
            <a:t> </a:t>
          </a:r>
          <a:r>
            <a:rPr lang="en-US" err="1"/>
            <a:t>digitalisering</a:t>
          </a:r>
          <a:r>
            <a:rPr lang="en-US"/>
            <a:t> av </a:t>
          </a:r>
          <a:r>
            <a:rPr lang="en-US" err="1"/>
            <a:t>offentlig</a:t>
          </a:r>
          <a:r>
            <a:rPr lang="en-US"/>
            <a:t> </a:t>
          </a:r>
          <a:r>
            <a:rPr lang="en-US" err="1"/>
            <a:t>sektor</a:t>
          </a:r>
          <a:r>
            <a:rPr lang="en-US"/>
            <a:t> </a:t>
          </a:r>
        </a:p>
      </dgm:t>
    </dgm:pt>
    <dgm:pt modelId="{FDC22697-E580-4E51-9EA5-052DCC7A686A}" type="parTrans" cxnId="{491C52AF-8A58-454E-999E-B35928B23FB8}">
      <dgm:prSet/>
      <dgm:spPr/>
      <dgm:t>
        <a:bodyPr/>
        <a:lstStyle/>
        <a:p>
          <a:endParaRPr lang="en-US"/>
        </a:p>
      </dgm:t>
    </dgm:pt>
    <dgm:pt modelId="{28FCA9BE-FC6D-46E6-A612-B03B2B0C809E}" type="sibTrans" cxnId="{491C52AF-8A58-454E-999E-B35928B23FB8}">
      <dgm:prSet/>
      <dgm:spPr/>
      <dgm:t>
        <a:bodyPr/>
        <a:lstStyle/>
        <a:p>
          <a:endParaRPr lang="en-US"/>
        </a:p>
      </dgm:t>
    </dgm:pt>
    <dgm:pt modelId="{A95AD647-B0EF-4A47-81FD-4133B83DA32F}">
      <dgm:prSet/>
      <dgm:spPr/>
      <dgm:t>
        <a:bodyPr/>
        <a:lstStyle/>
        <a:p>
          <a:r>
            <a:rPr lang="en-US" err="1">
              <a:latin typeface="Arial" panose="020B0604020202020204"/>
            </a:rPr>
            <a:t>Gevinster</a:t>
          </a:r>
          <a:r>
            <a:rPr lang="en-US"/>
            <a:t> for </a:t>
          </a:r>
          <a:r>
            <a:rPr lang="en-US" err="1"/>
            <a:t>innbyggere</a:t>
          </a:r>
          <a:r>
            <a:rPr lang="en-US"/>
            <a:t>, </a:t>
          </a:r>
          <a:r>
            <a:rPr lang="en-US" err="1"/>
            <a:t>næringsliv</a:t>
          </a:r>
          <a:r>
            <a:rPr lang="en-US"/>
            <a:t>, </a:t>
          </a:r>
          <a:r>
            <a:rPr lang="en-US" err="1"/>
            <a:t>frivillig</a:t>
          </a:r>
          <a:r>
            <a:rPr lang="en-US"/>
            <a:t> </a:t>
          </a:r>
          <a:r>
            <a:rPr lang="en-US" err="1"/>
            <a:t>sektor</a:t>
          </a:r>
          <a:r>
            <a:rPr lang="en-US"/>
            <a:t> </a:t>
          </a:r>
          <a:r>
            <a:rPr lang="en-US" err="1"/>
            <a:t>og</a:t>
          </a:r>
          <a:r>
            <a:rPr lang="en-US"/>
            <a:t> </a:t>
          </a:r>
          <a:r>
            <a:rPr lang="en-US" err="1"/>
            <a:t>offentlige</a:t>
          </a:r>
          <a:r>
            <a:rPr lang="en-US"/>
            <a:t> </a:t>
          </a:r>
          <a:r>
            <a:rPr lang="en-US" err="1"/>
            <a:t>virksomheter</a:t>
          </a:r>
          <a:endParaRPr lang="en-US"/>
        </a:p>
      </dgm:t>
    </dgm:pt>
    <dgm:pt modelId="{5288ED5F-BC76-49AC-A70C-8E45099A2E2F}" type="parTrans" cxnId="{D4E33A15-978B-40A3-8CE4-04C18DF06CA3}">
      <dgm:prSet/>
      <dgm:spPr/>
      <dgm:t>
        <a:bodyPr/>
        <a:lstStyle/>
        <a:p>
          <a:endParaRPr lang="en-US"/>
        </a:p>
      </dgm:t>
    </dgm:pt>
    <dgm:pt modelId="{90D8D970-B49F-4460-B5CA-8ACF532959CC}" type="sibTrans" cxnId="{D4E33A15-978B-40A3-8CE4-04C18DF06CA3}">
      <dgm:prSet/>
      <dgm:spPr/>
      <dgm:t>
        <a:bodyPr/>
        <a:lstStyle/>
        <a:p>
          <a:endParaRPr lang="en-US"/>
        </a:p>
      </dgm:t>
    </dgm:pt>
    <dgm:pt modelId="{64303EF6-C427-469D-95AD-F920E399B68B}" type="pres">
      <dgm:prSet presAssocID="{67F82D16-B78E-4C26-BC25-53D7F27F00DA}" presName="root" presStyleCnt="0">
        <dgm:presLayoutVars>
          <dgm:dir/>
          <dgm:resizeHandles val="exact"/>
        </dgm:presLayoutVars>
      </dgm:prSet>
      <dgm:spPr/>
    </dgm:pt>
    <dgm:pt modelId="{59545B97-C8B8-4CB8-B426-BBE267ADD694}" type="pres">
      <dgm:prSet presAssocID="{33AB8FA1-6D35-417D-A5CB-B9570A76F12E}" presName="compNode" presStyleCnt="0"/>
      <dgm:spPr/>
    </dgm:pt>
    <dgm:pt modelId="{FE294141-5407-4608-A569-CD9C3F4D1AA6}" type="pres">
      <dgm:prSet presAssocID="{33AB8FA1-6D35-417D-A5CB-B9570A76F12E}" presName="bgRect" presStyleLbl="bgShp" presStyleIdx="0" presStyleCnt="2"/>
      <dgm:spPr/>
    </dgm:pt>
    <dgm:pt modelId="{A5202349-980A-4CDF-BDE2-DFE7CE97AB10}" type="pres">
      <dgm:prSet presAssocID="{33AB8FA1-6D35-417D-A5CB-B9570A76F12E}"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ranching Diagram"/>
        </a:ext>
      </dgm:extLst>
    </dgm:pt>
    <dgm:pt modelId="{5D2A9510-B490-487B-BF91-1F952C1E5B0B}" type="pres">
      <dgm:prSet presAssocID="{33AB8FA1-6D35-417D-A5CB-B9570A76F12E}" presName="spaceRect" presStyleCnt="0"/>
      <dgm:spPr/>
    </dgm:pt>
    <dgm:pt modelId="{B09AA03A-4901-4593-85C4-2E0F107385B1}" type="pres">
      <dgm:prSet presAssocID="{33AB8FA1-6D35-417D-A5CB-B9570A76F12E}" presName="parTx" presStyleLbl="revTx" presStyleIdx="0" presStyleCnt="4">
        <dgm:presLayoutVars>
          <dgm:chMax val="0"/>
          <dgm:chPref val="0"/>
        </dgm:presLayoutVars>
      </dgm:prSet>
      <dgm:spPr/>
    </dgm:pt>
    <dgm:pt modelId="{43BAB870-545A-45B1-95D3-996A9F9B8678}" type="pres">
      <dgm:prSet presAssocID="{33AB8FA1-6D35-417D-A5CB-B9570A76F12E}" presName="desTx" presStyleLbl="revTx" presStyleIdx="1" presStyleCnt="4">
        <dgm:presLayoutVars/>
      </dgm:prSet>
      <dgm:spPr/>
    </dgm:pt>
    <dgm:pt modelId="{6B9955C2-A456-4043-BC9B-CB2E980AB91B}" type="pres">
      <dgm:prSet presAssocID="{FA5790D1-A0F6-4874-9853-82D1861EDABD}" presName="sibTrans" presStyleCnt="0"/>
      <dgm:spPr/>
    </dgm:pt>
    <dgm:pt modelId="{C9AF9CEB-9C9B-4C80-807A-890BBCDE54F2}" type="pres">
      <dgm:prSet presAssocID="{830C0158-41F5-496C-BF3C-4915376AF777}" presName="compNode" presStyleCnt="0"/>
      <dgm:spPr/>
    </dgm:pt>
    <dgm:pt modelId="{166970BB-C583-4B0E-A8E5-10271E9B8C27}" type="pres">
      <dgm:prSet presAssocID="{830C0158-41F5-496C-BF3C-4915376AF777}" presName="bgRect" presStyleLbl="bgShp" presStyleIdx="1" presStyleCnt="2"/>
      <dgm:spPr/>
    </dgm:pt>
    <dgm:pt modelId="{7CB2F62C-6BCC-466D-95B1-F2875CADBB9B}" type="pres">
      <dgm:prSet presAssocID="{830C0158-41F5-496C-BF3C-4915376AF777}"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ruppe"/>
        </a:ext>
      </dgm:extLst>
    </dgm:pt>
    <dgm:pt modelId="{D87CA7BB-EA57-4E14-AB64-24F80E53D47F}" type="pres">
      <dgm:prSet presAssocID="{830C0158-41F5-496C-BF3C-4915376AF777}" presName="spaceRect" presStyleCnt="0"/>
      <dgm:spPr/>
    </dgm:pt>
    <dgm:pt modelId="{F881AEC2-D3A0-443F-B26E-290E5612FF56}" type="pres">
      <dgm:prSet presAssocID="{830C0158-41F5-496C-BF3C-4915376AF777}" presName="parTx" presStyleLbl="revTx" presStyleIdx="2" presStyleCnt="4">
        <dgm:presLayoutVars>
          <dgm:chMax val="0"/>
          <dgm:chPref val="0"/>
        </dgm:presLayoutVars>
      </dgm:prSet>
      <dgm:spPr/>
    </dgm:pt>
    <dgm:pt modelId="{7E4E4021-0411-4C36-BA07-3D62241113E7}" type="pres">
      <dgm:prSet presAssocID="{830C0158-41F5-496C-BF3C-4915376AF777}" presName="desTx" presStyleLbl="revTx" presStyleIdx="3" presStyleCnt="4">
        <dgm:presLayoutVars/>
      </dgm:prSet>
      <dgm:spPr/>
    </dgm:pt>
  </dgm:ptLst>
  <dgm:cxnLst>
    <dgm:cxn modelId="{41B99D0F-8121-49B9-9103-78D2CEC0CBB1}" srcId="{33AB8FA1-6D35-417D-A5CB-B9570A76F12E}" destId="{BD2C926F-C57D-4561-84C1-E5E4ACCEF548}" srcOrd="0" destOrd="0" parTransId="{92827BAB-A1C3-46C4-B82D-93421248C638}" sibTransId="{E3CEC23B-5E3F-4D6F-A46B-329BE014B33F}"/>
    <dgm:cxn modelId="{D4E33A15-978B-40A3-8CE4-04C18DF06CA3}" srcId="{830C0158-41F5-496C-BF3C-4915376AF777}" destId="{A95AD647-B0EF-4A47-81FD-4133B83DA32F}" srcOrd="0" destOrd="0" parTransId="{5288ED5F-BC76-49AC-A70C-8E45099A2E2F}" sibTransId="{90D8D970-B49F-4460-B5CA-8ACF532959CC}"/>
    <dgm:cxn modelId="{3634DF43-62FA-4676-837B-E2178C471135}" type="presOf" srcId="{F4402F84-5616-4DBE-A92F-AD5B3749675C}" destId="{43BAB870-545A-45B1-95D3-996A9F9B8678}" srcOrd="0" destOrd="1" presId="urn:microsoft.com/office/officeart/2018/2/layout/IconVerticalSolidList"/>
    <dgm:cxn modelId="{2C40D84F-1F5E-43AA-BAE7-D8181B3DD76D}" type="presOf" srcId="{A95AD647-B0EF-4A47-81FD-4133B83DA32F}" destId="{7E4E4021-0411-4C36-BA07-3D62241113E7}" srcOrd="0" destOrd="0" presId="urn:microsoft.com/office/officeart/2018/2/layout/IconVerticalSolidList"/>
    <dgm:cxn modelId="{46F5A575-7B7A-4C94-A9E1-0FA04D86E4A9}" type="presOf" srcId="{33AB8FA1-6D35-417D-A5CB-B9570A76F12E}" destId="{B09AA03A-4901-4593-85C4-2E0F107385B1}" srcOrd="0" destOrd="0" presId="urn:microsoft.com/office/officeart/2018/2/layout/IconVerticalSolidList"/>
    <dgm:cxn modelId="{AEE58B80-87D3-4D52-BDCB-1C96EE608B96}" type="presOf" srcId="{BD2C926F-C57D-4561-84C1-E5E4ACCEF548}" destId="{43BAB870-545A-45B1-95D3-996A9F9B8678}" srcOrd="0" destOrd="0" presId="urn:microsoft.com/office/officeart/2018/2/layout/IconVerticalSolidList"/>
    <dgm:cxn modelId="{491C52AF-8A58-454E-999E-B35928B23FB8}" srcId="{67F82D16-B78E-4C26-BC25-53D7F27F00DA}" destId="{830C0158-41F5-496C-BF3C-4915376AF777}" srcOrd="1" destOrd="0" parTransId="{FDC22697-E580-4E51-9EA5-052DCC7A686A}" sibTransId="{28FCA9BE-FC6D-46E6-A612-B03B2B0C809E}"/>
    <dgm:cxn modelId="{6E79B3C1-DFE7-423E-BE6F-C8A2627A9D45}" srcId="{33AB8FA1-6D35-417D-A5CB-B9570A76F12E}" destId="{F4402F84-5616-4DBE-A92F-AD5B3749675C}" srcOrd="1" destOrd="0" parTransId="{7BB9CC58-F462-41D7-BF7A-ABAE75DF419E}" sibTransId="{4B853A5F-9035-4260-8688-96B087C4AEB8}"/>
    <dgm:cxn modelId="{E3DC7BE3-A3CC-4282-A4BC-06558A66F545}" type="presOf" srcId="{67F82D16-B78E-4C26-BC25-53D7F27F00DA}" destId="{64303EF6-C427-469D-95AD-F920E399B68B}" srcOrd="0" destOrd="0" presId="urn:microsoft.com/office/officeart/2018/2/layout/IconVerticalSolidList"/>
    <dgm:cxn modelId="{0162A9EE-1F4E-4758-A36B-54FEA4E832D4}" type="presOf" srcId="{830C0158-41F5-496C-BF3C-4915376AF777}" destId="{F881AEC2-D3A0-443F-B26E-290E5612FF56}" srcOrd="0" destOrd="0" presId="urn:microsoft.com/office/officeart/2018/2/layout/IconVerticalSolidList"/>
    <dgm:cxn modelId="{F3781DF9-0385-4306-A718-3EB4033F144E}" srcId="{67F82D16-B78E-4C26-BC25-53D7F27F00DA}" destId="{33AB8FA1-6D35-417D-A5CB-B9570A76F12E}" srcOrd="0" destOrd="0" parTransId="{9E93C870-DBF2-43D1-8999-E88C8A80F543}" sibTransId="{FA5790D1-A0F6-4874-9853-82D1861EDABD}"/>
    <dgm:cxn modelId="{DB5633E2-0602-4776-A8C6-E9C201CDAD74}" type="presParOf" srcId="{64303EF6-C427-469D-95AD-F920E399B68B}" destId="{59545B97-C8B8-4CB8-B426-BBE267ADD694}" srcOrd="0" destOrd="0" presId="urn:microsoft.com/office/officeart/2018/2/layout/IconVerticalSolidList"/>
    <dgm:cxn modelId="{8A8D4FEA-757D-4E36-B6E0-1C79804B395B}" type="presParOf" srcId="{59545B97-C8B8-4CB8-B426-BBE267ADD694}" destId="{FE294141-5407-4608-A569-CD9C3F4D1AA6}" srcOrd="0" destOrd="0" presId="urn:microsoft.com/office/officeart/2018/2/layout/IconVerticalSolidList"/>
    <dgm:cxn modelId="{ED115BC4-1FE8-4809-B6B5-892B5880D65A}" type="presParOf" srcId="{59545B97-C8B8-4CB8-B426-BBE267ADD694}" destId="{A5202349-980A-4CDF-BDE2-DFE7CE97AB10}" srcOrd="1" destOrd="0" presId="urn:microsoft.com/office/officeart/2018/2/layout/IconVerticalSolidList"/>
    <dgm:cxn modelId="{F4C70FF0-841A-4F1F-B6A3-B07788E55C9D}" type="presParOf" srcId="{59545B97-C8B8-4CB8-B426-BBE267ADD694}" destId="{5D2A9510-B490-487B-BF91-1F952C1E5B0B}" srcOrd="2" destOrd="0" presId="urn:microsoft.com/office/officeart/2018/2/layout/IconVerticalSolidList"/>
    <dgm:cxn modelId="{6D1D69CD-3EAA-4339-B9CB-4B304419C490}" type="presParOf" srcId="{59545B97-C8B8-4CB8-B426-BBE267ADD694}" destId="{B09AA03A-4901-4593-85C4-2E0F107385B1}" srcOrd="3" destOrd="0" presId="urn:microsoft.com/office/officeart/2018/2/layout/IconVerticalSolidList"/>
    <dgm:cxn modelId="{8A860C67-7AD8-4EF5-A308-4A8F0306C58E}" type="presParOf" srcId="{59545B97-C8B8-4CB8-B426-BBE267ADD694}" destId="{43BAB870-545A-45B1-95D3-996A9F9B8678}" srcOrd="4" destOrd="0" presId="urn:microsoft.com/office/officeart/2018/2/layout/IconVerticalSolidList"/>
    <dgm:cxn modelId="{6E059F7C-1955-4EC3-9DC3-72A174BEAE60}" type="presParOf" srcId="{64303EF6-C427-469D-95AD-F920E399B68B}" destId="{6B9955C2-A456-4043-BC9B-CB2E980AB91B}" srcOrd="1" destOrd="0" presId="urn:microsoft.com/office/officeart/2018/2/layout/IconVerticalSolidList"/>
    <dgm:cxn modelId="{A6E5BB7B-72B5-40D7-AC13-B1E8C60D3D11}" type="presParOf" srcId="{64303EF6-C427-469D-95AD-F920E399B68B}" destId="{C9AF9CEB-9C9B-4C80-807A-890BBCDE54F2}" srcOrd="2" destOrd="0" presId="urn:microsoft.com/office/officeart/2018/2/layout/IconVerticalSolidList"/>
    <dgm:cxn modelId="{7E20FB5D-11E9-49AF-8F06-75C65298C3C5}" type="presParOf" srcId="{C9AF9CEB-9C9B-4C80-807A-890BBCDE54F2}" destId="{166970BB-C583-4B0E-A8E5-10271E9B8C27}" srcOrd="0" destOrd="0" presId="urn:microsoft.com/office/officeart/2018/2/layout/IconVerticalSolidList"/>
    <dgm:cxn modelId="{E7D28F9D-CD2E-491E-B948-278B04B85D49}" type="presParOf" srcId="{C9AF9CEB-9C9B-4C80-807A-890BBCDE54F2}" destId="{7CB2F62C-6BCC-466D-95B1-F2875CADBB9B}" srcOrd="1" destOrd="0" presId="urn:microsoft.com/office/officeart/2018/2/layout/IconVerticalSolidList"/>
    <dgm:cxn modelId="{20D4AD7A-F23C-470B-8939-BBBDDCD12BF7}" type="presParOf" srcId="{C9AF9CEB-9C9B-4C80-807A-890BBCDE54F2}" destId="{D87CA7BB-EA57-4E14-AB64-24F80E53D47F}" srcOrd="2" destOrd="0" presId="urn:microsoft.com/office/officeart/2018/2/layout/IconVerticalSolidList"/>
    <dgm:cxn modelId="{C95997D3-C875-4E7D-BDC0-15EDFD0C8E52}" type="presParOf" srcId="{C9AF9CEB-9C9B-4C80-807A-890BBCDE54F2}" destId="{F881AEC2-D3A0-443F-B26E-290E5612FF56}" srcOrd="3" destOrd="0" presId="urn:microsoft.com/office/officeart/2018/2/layout/IconVerticalSolidList"/>
    <dgm:cxn modelId="{535872F7-441C-4E7A-ACE6-1949BFE63353}" type="presParOf" srcId="{C9AF9CEB-9C9B-4C80-807A-890BBCDE54F2}" destId="{7E4E4021-0411-4C36-BA07-3D62241113E7}"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37D3AE-103B-4787-B2E1-6D59E401360A}" type="doc">
      <dgm:prSet loTypeId="urn:microsoft.com/office/officeart/2018/2/layout/IconVerticalSolidList" loCatId="icon" qsTypeId="urn:microsoft.com/office/officeart/2005/8/quickstyle/simple1" qsCatId="simple" csTypeId="urn:microsoft.com/office/officeart/2005/8/colors/accent6_1" csCatId="accent6" phldr="1"/>
      <dgm:spPr/>
      <dgm:t>
        <a:bodyPr/>
        <a:lstStyle/>
        <a:p>
          <a:endParaRPr lang="en-US"/>
        </a:p>
      </dgm:t>
    </dgm:pt>
    <dgm:pt modelId="{5D296064-AC59-440F-A324-7BBDC8706E33}">
      <dgm:prSet/>
      <dgm:spPr/>
      <dgm:t>
        <a:bodyPr/>
        <a:lstStyle/>
        <a:p>
          <a:pPr>
            <a:lnSpc>
              <a:spcPct val="100000"/>
            </a:lnSpc>
          </a:pPr>
          <a:r>
            <a:rPr lang="nb-NO" dirty="0"/>
            <a:t>De nasjonale fellesregistrene er et utgangspunkt, men hvem tegner resten av "toppkartet"? </a:t>
          </a:r>
          <a:endParaRPr lang="en-US" dirty="0"/>
        </a:p>
      </dgm:t>
    </dgm:pt>
    <dgm:pt modelId="{76FA68E5-C8CC-410F-94E8-9EC7F72C5D48}" type="parTrans" cxnId="{57E52889-EEEA-4D42-939E-5DA27F7AE573}">
      <dgm:prSet/>
      <dgm:spPr/>
      <dgm:t>
        <a:bodyPr/>
        <a:lstStyle/>
        <a:p>
          <a:endParaRPr lang="en-US"/>
        </a:p>
      </dgm:t>
    </dgm:pt>
    <dgm:pt modelId="{06E1E014-E03A-4C9B-8EF0-3F853720B240}" type="sibTrans" cxnId="{57E52889-EEEA-4D42-939E-5DA27F7AE573}">
      <dgm:prSet/>
      <dgm:spPr/>
      <dgm:t>
        <a:bodyPr/>
        <a:lstStyle/>
        <a:p>
          <a:endParaRPr lang="en-US"/>
        </a:p>
      </dgm:t>
    </dgm:pt>
    <dgm:pt modelId="{A2F163AB-10BA-4734-8C5E-59C963C24577}">
      <dgm:prSet/>
      <dgm:spPr/>
      <dgm:t>
        <a:bodyPr/>
        <a:lstStyle/>
        <a:p>
          <a:pPr>
            <a:lnSpc>
              <a:spcPct val="100000"/>
            </a:lnSpc>
          </a:pPr>
          <a:r>
            <a:rPr lang="nb-NO" dirty="0"/>
            <a:t>Hvordan sørger vi for at de gode autoritative kildene svarer ut alle de behovene de skal dekke?</a:t>
          </a:r>
          <a:endParaRPr lang="en-US" dirty="0"/>
        </a:p>
      </dgm:t>
    </dgm:pt>
    <dgm:pt modelId="{5471E5FD-B8DF-4FD0-B822-FC17B23AD7F2}" type="parTrans" cxnId="{3660C2F2-A742-4724-AAFB-85FA30A59CC8}">
      <dgm:prSet/>
      <dgm:spPr/>
      <dgm:t>
        <a:bodyPr/>
        <a:lstStyle/>
        <a:p>
          <a:endParaRPr lang="en-US"/>
        </a:p>
      </dgm:t>
    </dgm:pt>
    <dgm:pt modelId="{9AC6FB2C-544F-492A-82FE-49C784706FEB}" type="sibTrans" cxnId="{3660C2F2-A742-4724-AAFB-85FA30A59CC8}">
      <dgm:prSet/>
      <dgm:spPr/>
      <dgm:t>
        <a:bodyPr/>
        <a:lstStyle/>
        <a:p>
          <a:endParaRPr lang="en-US"/>
        </a:p>
      </dgm:t>
    </dgm:pt>
    <dgm:pt modelId="{3645DE16-FF61-4B07-8474-06C825DBF42A}">
      <dgm:prSet/>
      <dgm:spPr/>
      <dgm:t>
        <a:bodyPr/>
        <a:lstStyle/>
        <a:p>
          <a:pPr>
            <a:lnSpc>
              <a:spcPct val="100000"/>
            </a:lnSpc>
          </a:pPr>
          <a:r>
            <a:rPr lang="nb-NO" dirty="0"/>
            <a:t>Hvordan jobber vi med å utvikle regelverk som kan bruke "data som finnes"? </a:t>
          </a:r>
          <a:endParaRPr lang="en-US" dirty="0"/>
        </a:p>
      </dgm:t>
    </dgm:pt>
    <dgm:pt modelId="{ECECC1B5-68FB-43F5-B3FF-35CCA4AD2BE2}" type="parTrans" cxnId="{34F756B4-0909-40D6-AC8B-FDE8CC4004F9}">
      <dgm:prSet/>
      <dgm:spPr/>
      <dgm:t>
        <a:bodyPr/>
        <a:lstStyle/>
        <a:p>
          <a:endParaRPr lang="en-US"/>
        </a:p>
      </dgm:t>
    </dgm:pt>
    <dgm:pt modelId="{8C1F2786-4180-4C42-A70B-5CABD7BCC159}" type="sibTrans" cxnId="{34F756B4-0909-40D6-AC8B-FDE8CC4004F9}">
      <dgm:prSet/>
      <dgm:spPr/>
      <dgm:t>
        <a:bodyPr/>
        <a:lstStyle/>
        <a:p>
          <a:endParaRPr lang="en-US"/>
        </a:p>
      </dgm:t>
    </dgm:pt>
    <dgm:pt modelId="{147817AC-C7CE-4357-864C-CC7993F9D1BF}" type="pres">
      <dgm:prSet presAssocID="{3837D3AE-103B-4787-B2E1-6D59E401360A}" presName="root" presStyleCnt="0">
        <dgm:presLayoutVars>
          <dgm:dir/>
          <dgm:resizeHandles val="exact"/>
        </dgm:presLayoutVars>
      </dgm:prSet>
      <dgm:spPr/>
    </dgm:pt>
    <dgm:pt modelId="{41744673-9096-49A4-AFFE-9951617EF246}" type="pres">
      <dgm:prSet presAssocID="{5D296064-AC59-440F-A324-7BBDC8706E33}" presName="compNode" presStyleCnt="0"/>
      <dgm:spPr/>
    </dgm:pt>
    <dgm:pt modelId="{CD489D0D-50EE-4890-97C0-E13EABF6E05E}" type="pres">
      <dgm:prSet presAssocID="{5D296064-AC59-440F-A324-7BBDC8706E33}" presName="bgRect" presStyleLbl="bgShp" presStyleIdx="0" presStyleCnt="3"/>
      <dgm:spPr>
        <a:solidFill>
          <a:srgbClr val="BEE1FF"/>
        </a:solidFill>
      </dgm:spPr>
    </dgm:pt>
    <dgm:pt modelId="{137AD3DD-D0EE-46D3-BF6E-4BC72CABC2C9}" type="pres">
      <dgm:prSet presAssocID="{5D296064-AC59-440F-A324-7BBDC8706E33}"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Merke 1 kontur"/>
        </a:ext>
      </dgm:extLst>
    </dgm:pt>
    <dgm:pt modelId="{1C7ED4B6-B959-4E0C-9CD0-CD3626C510DE}" type="pres">
      <dgm:prSet presAssocID="{5D296064-AC59-440F-A324-7BBDC8706E33}" presName="spaceRect" presStyleCnt="0"/>
      <dgm:spPr/>
    </dgm:pt>
    <dgm:pt modelId="{AF3B78F7-DB77-4135-90CC-9697E475FF89}" type="pres">
      <dgm:prSet presAssocID="{5D296064-AC59-440F-A324-7BBDC8706E33}" presName="parTx" presStyleLbl="revTx" presStyleIdx="0" presStyleCnt="3">
        <dgm:presLayoutVars>
          <dgm:chMax val="0"/>
          <dgm:chPref val="0"/>
        </dgm:presLayoutVars>
      </dgm:prSet>
      <dgm:spPr/>
    </dgm:pt>
    <dgm:pt modelId="{67206278-DD4A-4EE2-8C6A-3151D4E5371F}" type="pres">
      <dgm:prSet presAssocID="{06E1E014-E03A-4C9B-8EF0-3F853720B240}" presName="sibTrans" presStyleCnt="0"/>
      <dgm:spPr/>
    </dgm:pt>
    <dgm:pt modelId="{BDD87D9E-E092-4A48-9570-2A04885810A2}" type="pres">
      <dgm:prSet presAssocID="{A2F163AB-10BA-4734-8C5E-59C963C24577}" presName="compNode" presStyleCnt="0"/>
      <dgm:spPr/>
    </dgm:pt>
    <dgm:pt modelId="{8672BB61-0E2E-49CF-B9DD-24904C479A57}" type="pres">
      <dgm:prSet presAssocID="{A2F163AB-10BA-4734-8C5E-59C963C24577}" presName="bgRect" presStyleLbl="bgShp" presStyleIdx="1" presStyleCnt="3"/>
      <dgm:spPr>
        <a:solidFill>
          <a:schemeClr val="accent6">
            <a:lumMod val="20000"/>
            <a:lumOff val="80000"/>
          </a:schemeClr>
        </a:solidFill>
      </dgm:spPr>
    </dgm:pt>
    <dgm:pt modelId="{2B6FF933-04EE-4A89-83D2-96731B7008AE}" type="pres">
      <dgm:prSet presAssocID="{A2F163AB-10BA-4734-8C5E-59C963C2457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erke kontur"/>
        </a:ext>
      </dgm:extLst>
    </dgm:pt>
    <dgm:pt modelId="{662B87E8-6626-4A97-8176-CEFAC5384DA3}" type="pres">
      <dgm:prSet presAssocID="{A2F163AB-10BA-4734-8C5E-59C963C24577}" presName="spaceRect" presStyleCnt="0"/>
      <dgm:spPr/>
    </dgm:pt>
    <dgm:pt modelId="{871DE986-2AFA-42EC-98CE-FB1F3800201D}" type="pres">
      <dgm:prSet presAssocID="{A2F163AB-10BA-4734-8C5E-59C963C24577}" presName="parTx" presStyleLbl="revTx" presStyleIdx="1" presStyleCnt="3">
        <dgm:presLayoutVars>
          <dgm:chMax val="0"/>
          <dgm:chPref val="0"/>
        </dgm:presLayoutVars>
      </dgm:prSet>
      <dgm:spPr/>
    </dgm:pt>
    <dgm:pt modelId="{C584E732-FA5B-4635-9A8B-BEDDE6608C05}" type="pres">
      <dgm:prSet presAssocID="{9AC6FB2C-544F-492A-82FE-49C784706FEB}" presName="sibTrans" presStyleCnt="0"/>
      <dgm:spPr/>
    </dgm:pt>
    <dgm:pt modelId="{34560842-A88C-4595-82CD-59F974A0D972}" type="pres">
      <dgm:prSet presAssocID="{3645DE16-FF61-4B07-8474-06C825DBF42A}" presName="compNode" presStyleCnt="0"/>
      <dgm:spPr/>
    </dgm:pt>
    <dgm:pt modelId="{D773B60A-FE94-4371-8744-9B1BF78A091C}" type="pres">
      <dgm:prSet presAssocID="{3645DE16-FF61-4B07-8474-06C825DBF42A}" presName="bgRect" presStyleLbl="bgShp" presStyleIdx="2" presStyleCnt="3"/>
      <dgm:spPr>
        <a:solidFill>
          <a:schemeClr val="accent6">
            <a:lumMod val="20000"/>
            <a:lumOff val="80000"/>
          </a:schemeClr>
        </a:solidFill>
        <a:ln>
          <a:noFill/>
        </a:ln>
      </dgm:spPr>
    </dgm:pt>
    <dgm:pt modelId="{6B9CB222-97D4-4993-9F01-202165E8987B}" type="pres">
      <dgm:prSet presAssocID="{3645DE16-FF61-4B07-8474-06C825DBF42A}"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Merke 3 kontur"/>
        </a:ext>
      </dgm:extLst>
    </dgm:pt>
    <dgm:pt modelId="{99024E67-143A-430E-A380-1B8D87B6F15F}" type="pres">
      <dgm:prSet presAssocID="{3645DE16-FF61-4B07-8474-06C825DBF42A}" presName="spaceRect" presStyleCnt="0"/>
      <dgm:spPr/>
    </dgm:pt>
    <dgm:pt modelId="{1C3B5684-509D-4456-B07D-89A78B35CF3A}" type="pres">
      <dgm:prSet presAssocID="{3645DE16-FF61-4B07-8474-06C825DBF42A}" presName="parTx" presStyleLbl="revTx" presStyleIdx="2" presStyleCnt="3">
        <dgm:presLayoutVars>
          <dgm:chMax val="0"/>
          <dgm:chPref val="0"/>
        </dgm:presLayoutVars>
      </dgm:prSet>
      <dgm:spPr/>
    </dgm:pt>
  </dgm:ptLst>
  <dgm:cxnLst>
    <dgm:cxn modelId="{49EEF162-BF57-4438-8264-056ED7A35F11}" type="presOf" srcId="{A2F163AB-10BA-4734-8C5E-59C963C24577}" destId="{871DE986-2AFA-42EC-98CE-FB1F3800201D}" srcOrd="0" destOrd="0" presId="urn:microsoft.com/office/officeart/2018/2/layout/IconVerticalSolidList"/>
    <dgm:cxn modelId="{79A80A87-C4D6-43BF-AA81-FDE1EF0BB236}" type="presOf" srcId="{3837D3AE-103B-4787-B2E1-6D59E401360A}" destId="{147817AC-C7CE-4357-864C-CC7993F9D1BF}" srcOrd="0" destOrd="0" presId="urn:microsoft.com/office/officeart/2018/2/layout/IconVerticalSolidList"/>
    <dgm:cxn modelId="{57E52889-EEEA-4D42-939E-5DA27F7AE573}" srcId="{3837D3AE-103B-4787-B2E1-6D59E401360A}" destId="{5D296064-AC59-440F-A324-7BBDC8706E33}" srcOrd="0" destOrd="0" parTransId="{76FA68E5-C8CC-410F-94E8-9EC7F72C5D48}" sibTransId="{06E1E014-E03A-4C9B-8EF0-3F853720B240}"/>
    <dgm:cxn modelId="{E41EC895-4854-4DFB-84BA-597462B47F48}" type="presOf" srcId="{5D296064-AC59-440F-A324-7BBDC8706E33}" destId="{AF3B78F7-DB77-4135-90CC-9697E475FF89}" srcOrd="0" destOrd="0" presId="urn:microsoft.com/office/officeart/2018/2/layout/IconVerticalSolidList"/>
    <dgm:cxn modelId="{34F756B4-0909-40D6-AC8B-FDE8CC4004F9}" srcId="{3837D3AE-103B-4787-B2E1-6D59E401360A}" destId="{3645DE16-FF61-4B07-8474-06C825DBF42A}" srcOrd="2" destOrd="0" parTransId="{ECECC1B5-68FB-43F5-B3FF-35CCA4AD2BE2}" sibTransId="{8C1F2786-4180-4C42-A70B-5CABD7BCC159}"/>
    <dgm:cxn modelId="{643CC6E0-D120-47FA-B424-862F5D9059D4}" type="presOf" srcId="{3645DE16-FF61-4B07-8474-06C825DBF42A}" destId="{1C3B5684-509D-4456-B07D-89A78B35CF3A}" srcOrd="0" destOrd="0" presId="urn:microsoft.com/office/officeart/2018/2/layout/IconVerticalSolidList"/>
    <dgm:cxn modelId="{3660C2F2-A742-4724-AAFB-85FA30A59CC8}" srcId="{3837D3AE-103B-4787-B2E1-6D59E401360A}" destId="{A2F163AB-10BA-4734-8C5E-59C963C24577}" srcOrd="1" destOrd="0" parTransId="{5471E5FD-B8DF-4FD0-B822-FC17B23AD7F2}" sibTransId="{9AC6FB2C-544F-492A-82FE-49C784706FEB}"/>
    <dgm:cxn modelId="{DDF8BFEB-FE5F-435B-8C78-ACE666D04A14}" type="presParOf" srcId="{147817AC-C7CE-4357-864C-CC7993F9D1BF}" destId="{41744673-9096-49A4-AFFE-9951617EF246}" srcOrd="0" destOrd="0" presId="urn:microsoft.com/office/officeart/2018/2/layout/IconVerticalSolidList"/>
    <dgm:cxn modelId="{287D5314-E015-404D-A8FA-AC57CFB8B467}" type="presParOf" srcId="{41744673-9096-49A4-AFFE-9951617EF246}" destId="{CD489D0D-50EE-4890-97C0-E13EABF6E05E}" srcOrd="0" destOrd="0" presId="urn:microsoft.com/office/officeart/2018/2/layout/IconVerticalSolidList"/>
    <dgm:cxn modelId="{1D831F0A-F889-4899-9010-5466716BE6A8}" type="presParOf" srcId="{41744673-9096-49A4-AFFE-9951617EF246}" destId="{137AD3DD-D0EE-46D3-BF6E-4BC72CABC2C9}" srcOrd="1" destOrd="0" presId="urn:microsoft.com/office/officeart/2018/2/layout/IconVerticalSolidList"/>
    <dgm:cxn modelId="{15EF9032-9841-4278-A738-11733201785E}" type="presParOf" srcId="{41744673-9096-49A4-AFFE-9951617EF246}" destId="{1C7ED4B6-B959-4E0C-9CD0-CD3626C510DE}" srcOrd="2" destOrd="0" presId="urn:microsoft.com/office/officeart/2018/2/layout/IconVerticalSolidList"/>
    <dgm:cxn modelId="{F1DF791F-F673-4827-8C32-38BD8A12854C}" type="presParOf" srcId="{41744673-9096-49A4-AFFE-9951617EF246}" destId="{AF3B78F7-DB77-4135-90CC-9697E475FF89}" srcOrd="3" destOrd="0" presId="urn:microsoft.com/office/officeart/2018/2/layout/IconVerticalSolidList"/>
    <dgm:cxn modelId="{91C8451D-8AF0-4245-8353-D305AAADFD06}" type="presParOf" srcId="{147817AC-C7CE-4357-864C-CC7993F9D1BF}" destId="{67206278-DD4A-4EE2-8C6A-3151D4E5371F}" srcOrd="1" destOrd="0" presId="urn:microsoft.com/office/officeart/2018/2/layout/IconVerticalSolidList"/>
    <dgm:cxn modelId="{90AD6137-55C4-43B6-8631-4769C173BE16}" type="presParOf" srcId="{147817AC-C7CE-4357-864C-CC7993F9D1BF}" destId="{BDD87D9E-E092-4A48-9570-2A04885810A2}" srcOrd="2" destOrd="0" presId="urn:microsoft.com/office/officeart/2018/2/layout/IconVerticalSolidList"/>
    <dgm:cxn modelId="{2032DE33-6E8B-4E2B-B367-93244548F5AB}" type="presParOf" srcId="{BDD87D9E-E092-4A48-9570-2A04885810A2}" destId="{8672BB61-0E2E-49CF-B9DD-24904C479A57}" srcOrd="0" destOrd="0" presId="urn:microsoft.com/office/officeart/2018/2/layout/IconVerticalSolidList"/>
    <dgm:cxn modelId="{1DA43B90-ACEF-4CCB-9263-196C89370EBC}" type="presParOf" srcId="{BDD87D9E-E092-4A48-9570-2A04885810A2}" destId="{2B6FF933-04EE-4A89-83D2-96731B7008AE}" srcOrd="1" destOrd="0" presId="urn:microsoft.com/office/officeart/2018/2/layout/IconVerticalSolidList"/>
    <dgm:cxn modelId="{ACFA4D47-A222-49F3-B0EE-3FD7BEF83B77}" type="presParOf" srcId="{BDD87D9E-E092-4A48-9570-2A04885810A2}" destId="{662B87E8-6626-4A97-8176-CEFAC5384DA3}" srcOrd="2" destOrd="0" presId="urn:microsoft.com/office/officeart/2018/2/layout/IconVerticalSolidList"/>
    <dgm:cxn modelId="{F863417C-0F24-4EB4-87CA-B12B2B61B03E}" type="presParOf" srcId="{BDD87D9E-E092-4A48-9570-2A04885810A2}" destId="{871DE986-2AFA-42EC-98CE-FB1F3800201D}" srcOrd="3" destOrd="0" presId="urn:microsoft.com/office/officeart/2018/2/layout/IconVerticalSolidList"/>
    <dgm:cxn modelId="{20B14795-7474-4A64-9438-FAC7440D6C91}" type="presParOf" srcId="{147817AC-C7CE-4357-864C-CC7993F9D1BF}" destId="{C584E732-FA5B-4635-9A8B-BEDDE6608C05}" srcOrd="3" destOrd="0" presId="urn:microsoft.com/office/officeart/2018/2/layout/IconVerticalSolidList"/>
    <dgm:cxn modelId="{4A8BADE2-4B8C-4823-9FC9-DA563EA5D37D}" type="presParOf" srcId="{147817AC-C7CE-4357-864C-CC7993F9D1BF}" destId="{34560842-A88C-4595-82CD-59F974A0D972}" srcOrd="4" destOrd="0" presId="urn:microsoft.com/office/officeart/2018/2/layout/IconVerticalSolidList"/>
    <dgm:cxn modelId="{926B3872-FA35-4A2F-9EC1-43F429F660F8}" type="presParOf" srcId="{34560842-A88C-4595-82CD-59F974A0D972}" destId="{D773B60A-FE94-4371-8744-9B1BF78A091C}" srcOrd="0" destOrd="0" presId="urn:microsoft.com/office/officeart/2018/2/layout/IconVerticalSolidList"/>
    <dgm:cxn modelId="{B66B7DD6-9D4B-4C8B-BC05-DA08E295C989}" type="presParOf" srcId="{34560842-A88C-4595-82CD-59F974A0D972}" destId="{6B9CB222-97D4-4993-9F01-202165E8987B}" srcOrd="1" destOrd="0" presId="urn:microsoft.com/office/officeart/2018/2/layout/IconVerticalSolidList"/>
    <dgm:cxn modelId="{4116E733-6662-4777-8D03-66DA9B4CAB52}" type="presParOf" srcId="{34560842-A88C-4595-82CD-59F974A0D972}" destId="{99024E67-143A-430E-A380-1B8D87B6F15F}" srcOrd="2" destOrd="0" presId="urn:microsoft.com/office/officeart/2018/2/layout/IconVerticalSolidList"/>
    <dgm:cxn modelId="{2092FFAD-3416-4A27-A5B3-BA8C7D71546D}" type="presParOf" srcId="{34560842-A88C-4595-82CD-59F974A0D972}" destId="{1C3B5684-509D-4456-B07D-89A78B35CF3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96C9F48-A81F-44FC-9E05-B8F7511D725A}"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07DC9393-7E7E-48A4-965E-0D9A2512E535}">
      <dgm:prSet custT="1"/>
      <dgm:spPr/>
      <dgm:t>
        <a:bodyPr/>
        <a:lstStyle/>
        <a:p>
          <a:pPr>
            <a:lnSpc>
              <a:spcPct val="100000"/>
            </a:lnSpc>
          </a:pPr>
          <a:r>
            <a:rPr lang="nb-NO" sz="2000" b="1"/>
            <a:t>Nasjonal grunndatakoordinator</a:t>
          </a:r>
          <a:endParaRPr lang="en-US" sz="2000"/>
        </a:p>
      </dgm:t>
    </dgm:pt>
    <dgm:pt modelId="{C2668116-EA45-4B91-A101-4D57FCC819A7}" type="parTrans" cxnId="{EA8FA0E2-11AE-4601-A021-8F86EE195858}">
      <dgm:prSet/>
      <dgm:spPr/>
      <dgm:t>
        <a:bodyPr/>
        <a:lstStyle/>
        <a:p>
          <a:endParaRPr lang="en-US"/>
        </a:p>
      </dgm:t>
    </dgm:pt>
    <dgm:pt modelId="{4121BC08-B041-41D1-9B78-AEF9A0A63168}" type="sibTrans" cxnId="{EA8FA0E2-11AE-4601-A021-8F86EE195858}">
      <dgm:prSet/>
      <dgm:spPr/>
      <dgm:t>
        <a:bodyPr/>
        <a:lstStyle/>
        <a:p>
          <a:endParaRPr lang="en-US"/>
        </a:p>
      </dgm:t>
    </dgm:pt>
    <dgm:pt modelId="{09F55346-9A33-447F-A0CE-1E769FE055BC}">
      <dgm:prSet custT="1"/>
      <dgm:spPr/>
      <dgm:t>
        <a:bodyPr/>
        <a:lstStyle/>
        <a:p>
          <a:pPr>
            <a:lnSpc>
              <a:spcPct val="100000"/>
            </a:lnSpc>
          </a:pPr>
          <a:r>
            <a:rPr lang="nb-NO" sz="2000" b="1"/>
            <a:t>Domeneansvarlig</a:t>
          </a:r>
          <a:endParaRPr lang="en-US" sz="2000"/>
        </a:p>
      </dgm:t>
    </dgm:pt>
    <dgm:pt modelId="{C4510DEA-C231-40C9-A7DA-8025941F5985}" type="parTrans" cxnId="{E6E121CC-7C3E-4DA2-A2E1-FF7D28FBCCFC}">
      <dgm:prSet/>
      <dgm:spPr/>
      <dgm:t>
        <a:bodyPr/>
        <a:lstStyle/>
        <a:p>
          <a:endParaRPr lang="en-US"/>
        </a:p>
      </dgm:t>
    </dgm:pt>
    <dgm:pt modelId="{C87BCB02-CFE2-4FE3-BB88-59071A4FF2A8}" type="sibTrans" cxnId="{E6E121CC-7C3E-4DA2-A2E1-FF7D28FBCCFC}">
      <dgm:prSet/>
      <dgm:spPr/>
      <dgm:t>
        <a:bodyPr/>
        <a:lstStyle/>
        <a:p>
          <a:endParaRPr lang="en-US"/>
        </a:p>
      </dgm:t>
    </dgm:pt>
    <dgm:pt modelId="{FBC3B851-1858-4CCE-933D-0E70CE70BCE6}">
      <dgm:prSet custT="1"/>
      <dgm:spPr/>
      <dgm:t>
        <a:bodyPr/>
        <a:lstStyle/>
        <a:p>
          <a:pPr>
            <a:lnSpc>
              <a:spcPct val="100000"/>
            </a:lnSpc>
          </a:pPr>
          <a:r>
            <a:rPr lang="nb-NO" sz="2000" b="1"/>
            <a:t>Grunndataforvalter</a:t>
          </a:r>
          <a:endParaRPr lang="en-US" sz="2000"/>
        </a:p>
      </dgm:t>
    </dgm:pt>
    <dgm:pt modelId="{DF567C97-6933-4329-AAE9-7C2C817D9177}" type="parTrans" cxnId="{B2A0C619-FAA9-4EDC-872B-C7CDD2B18261}">
      <dgm:prSet/>
      <dgm:spPr/>
      <dgm:t>
        <a:bodyPr/>
        <a:lstStyle/>
        <a:p>
          <a:endParaRPr lang="en-US"/>
        </a:p>
      </dgm:t>
    </dgm:pt>
    <dgm:pt modelId="{BF129592-BE89-4F37-94A6-86B82C5097F4}" type="sibTrans" cxnId="{B2A0C619-FAA9-4EDC-872B-C7CDD2B18261}">
      <dgm:prSet/>
      <dgm:spPr/>
      <dgm:t>
        <a:bodyPr/>
        <a:lstStyle/>
        <a:p>
          <a:endParaRPr lang="en-US"/>
        </a:p>
      </dgm:t>
    </dgm:pt>
    <dgm:pt modelId="{85F46E55-98E5-425D-ABF2-8900E5FE700A}" type="pres">
      <dgm:prSet presAssocID="{196C9F48-A81F-44FC-9E05-B8F7511D725A}" presName="root" presStyleCnt="0">
        <dgm:presLayoutVars>
          <dgm:dir/>
          <dgm:resizeHandles val="exact"/>
        </dgm:presLayoutVars>
      </dgm:prSet>
      <dgm:spPr/>
    </dgm:pt>
    <dgm:pt modelId="{1262CD09-431F-4E48-8706-857D000387B3}" type="pres">
      <dgm:prSet presAssocID="{07DC9393-7E7E-48A4-965E-0D9A2512E535}" presName="compNode" presStyleCnt="0"/>
      <dgm:spPr/>
    </dgm:pt>
    <dgm:pt modelId="{D351F253-D9F6-40B8-B5D8-03435FDDEEB8}" type="pres">
      <dgm:prSet presAssocID="{07DC9393-7E7E-48A4-965E-0D9A2512E535}" presName="bgRect" presStyleLbl="bgShp" presStyleIdx="0" presStyleCnt="3"/>
      <dgm:spPr/>
    </dgm:pt>
    <dgm:pt modelId="{C54E2E59-611B-48E6-BE91-F730B065A46D}" type="pres">
      <dgm:prSet presAssocID="{07DC9393-7E7E-48A4-965E-0D9A2512E535}"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eeting"/>
        </a:ext>
      </dgm:extLst>
    </dgm:pt>
    <dgm:pt modelId="{BF084D56-B626-4B1D-8D82-813C53CAAF27}" type="pres">
      <dgm:prSet presAssocID="{07DC9393-7E7E-48A4-965E-0D9A2512E535}" presName="spaceRect" presStyleCnt="0"/>
      <dgm:spPr/>
    </dgm:pt>
    <dgm:pt modelId="{6DE702F5-E9D4-41E3-A7A2-D87A1D291E6B}" type="pres">
      <dgm:prSet presAssocID="{07DC9393-7E7E-48A4-965E-0D9A2512E535}" presName="parTx" presStyleLbl="revTx" presStyleIdx="0" presStyleCnt="3">
        <dgm:presLayoutVars>
          <dgm:chMax val="0"/>
          <dgm:chPref val="0"/>
        </dgm:presLayoutVars>
      </dgm:prSet>
      <dgm:spPr/>
    </dgm:pt>
    <dgm:pt modelId="{C50A7962-3720-46B7-BB3C-ED748D33317F}" type="pres">
      <dgm:prSet presAssocID="{4121BC08-B041-41D1-9B78-AEF9A0A63168}" presName="sibTrans" presStyleCnt="0"/>
      <dgm:spPr/>
    </dgm:pt>
    <dgm:pt modelId="{8C632B95-15F1-4E85-A69E-B2CD52E27172}" type="pres">
      <dgm:prSet presAssocID="{09F55346-9A33-447F-A0CE-1E769FE055BC}" presName="compNode" presStyleCnt="0"/>
      <dgm:spPr/>
    </dgm:pt>
    <dgm:pt modelId="{11BBF547-9FFB-4F35-BCF8-0EC6FC924F49}" type="pres">
      <dgm:prSet presAssocID="{09F55346-9A33-447F-A0CE-1E769FE055BC}" presName="bgRect" presStyleLbl="bgShp" presStyleIdx="1" presStyleCnt="3"/>
      <dgm:spPr/>
    </dgm:pt>
    <dgm:pt modelId="{3B91616C-9314-45BD-B973-171ACF5EE322}" type="pres">
      <dgm:prSet presAssocID="{09F55346-9A33-447F-A0CE-1E769FE055BC}"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s"/>
        </a:ext>
      </dgm:extLst>
    </dgm:pt>
    <dgm:pt modelId="{792185D7-81D3-4577-94F6-F67FB200BAA5}" type="pres">
      <dgm:prSet presAssocID="{09F55346-9A33-447F-A0CE-1E769FE055BC}" presName="spaceRect" presStyleCnt="0"/>
      <dgm:spPr/>
    </dgm:pt>
    <dgm:pt modelId="{2227F27D-327E-4226-8E3A-BF1749DBE488}" type="pres">
      <dgm:prSet presAssocID="{09F55346-9A33-447F-A0CE-1E769FE055BC}" presName="parTx" presStyleLbl="revTx" presStyleIdx="1" presStyleCnt="3">
        <dgm:presLayoutVars>
          <dgm:chMax val="0"/>
          <dgm:chPref val="0"/>
        </dgm:presLayoutVars>
      </dgm:prSet>
      <dgm:spPr/>
    </dgm:pt>
    <dgm:pt modelId="{6ECC2503-FB65-4B4F-A629-379EAD6767FB}" type="pres">
      <dgm:prSet presAssocID="{C87BCB02-CFE2-4FE3-BB88-59071A4FF2A8}" presName="sibTrans" presStyleCnt="0"/>
      <dgm:spPr/>
    </dgm:pt>
    <dgm:pt modelId="{324B0D4D-CE13-4563-9856-0AC483DECB88}" type="pres">
      <dgm:prSet presAssocID="{FBC3B851-1858-4CCE-933D-0E70CE70BCE6}" presName="compNode" presStyleCnt="0"/>
      <dgm:spPr/>
    </dgm:pt>
    <dgm:pt modelId="{0388B976-C9E9-4E0E-B222-8F6E66307E9B}" type="pres">
      <dgm:prSet presAssocID="{FBC3B851-1858-4CCE-933D-0E70CE70BCE6}" presName="bgRect" presStyleLbl="bgShp" presStyleIdx="2" presStyleCnt="3"/>
      <dgm:spPr/>
    </dgm:pt>
    <dgm:pt modelId="{E8BE93F1-86F0-43E7-8AC9-F75FA67BFC0E}" type="pres">
      <dgm:prSet presAssocID="{FBC3B851-1858-4CCE-933D-0E70CE70BCE6}"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Dele med heldekkende fyll"/>
        </a:ext>
      </dgm:extLst>
    </dgm:pt>
    <dgm:pt modelId="{ED139630-10BF-4FBD-9CAB-B9FAC7FF7E6E}" type="pres">
      <dgm:prSet presAssocID="{FBC3B851-1858-4CCE-933D-0E70CE70BCE6}" presName="spaceRect" presStyleCnt="0"/>
      <dgm:spPr/>
    </dgm:pt>
    <dgm:pt modelId="{DFB726E7-67FD-4422-8A6A-A7C439CD2A35}" type="pres">
      <dgm:prSet presAssocID="{FBC3B851-1858-4CCE-933D-0E70CE70BCE6}" presName="parTx" presStyleLbl="revTx" presStyleIdx="2" presStyleCnt="3">
        <dgm:presLayoutVars>
          <dgm:chMax val="0"/>
          <dgm:chPref val="0"/>
        </dgm:presLayoutVars>
      </dgm:prSet>
      <dgm:spPr/>
    </dgm:pt>
  </dgm:ptLst>
  <dgm:cxnLst>
    <dgm:cxn modelId="{2E119510-A3B4-4184-8EC6-2027577EB905}" type="presOf" srcId="{07DC9393-7E7E-48A4-965E-0D9A2512E535}" destId="{6DE702F5-E9D4-41E3-A7A2-D87A1D291E6B}" srcOrd="0" destOrd="0" presId="urn:microsoft.com/office/officeart/2018/2/layout/IconVerticalSolidList"/>
    <dgm:cxn modelId="{5B772B13-7631-4060-9998-3360BD3F79E3}" type="presOf" srcId="{196C9F48-A81F-44FC-9E05-B8F7511D725A}" destId="{85F46E55-98E5-425D-ABF2-8900E5FE700A}" srcOrd="0" destOrd="0" presId="urn:microsoft.com/office/officeart/2018/2/layout/IconVerticalSolidList"/>
    <dgm:cxn modelId="{B2A0C619-FAA9-4EDC-872B-C7CDD2B18261}" srcId="{196C9F48-A81F-44FC-9E05-B8F7511D725A}" destId="{FBC3B851-1858-4CCE-933D-0E70CE70BCE6}" srcOrd="2" destOrd="0" parTransId="{DF567C97-6933-4329-AAE9-7C2C817D9177}" sibTransId="{BF129592-BE89-4F37-94A6-86B82C5097F4}"/>
    <dgm:cxn modelId="{663AF640-03D2-4BE5-AFCE-42A5D421A102}" type="presOf" srcId="{FBC3B851-1858-4CCE-933D-0E70CE70BCE6}" destId="{DFB726E7-67FD-4422-8A6A-A7C439CD2A35}" srcOrd="0" destOrd="0" presId="urn:microsoft.com/office/officeart/2018/2/layout/IconVerticalSolidList"/>
    <dgm:cxn modelId="{E6E121CC-7C3E-4DA2-A2E1-FF7D28FBCCFC}" srcId="{196C9F48-A81F-44FC-9E05-B8F7511D725A}" destId="{09F55346-9A33-447F-A0CE-1E769FE055BC}" srcOrd="1" destOrd="0" parTransId="{C4510DEA-C231-40C9-A7DA-8025941F5985}" sibTransId="{C87BCB02-CFE2-4FE3-BB88-59071A4FF2A8}"/>
    <dgm:cxn modelId="{EA8FA0E2-11AE-4601-A021-8F86EE195858}" srcId="{196C9F48-A81F-44FC-9E05-B8F7511D725A}" destId="{07DC9393-7E7E-48A4-965E-0D9A2512E535}" srcOrd="0" destOrd="0" parTransId="{C2668116-EA45-4B91-A101-4D57FCC819A7}" sibTransId="{4121BC08-B041-41D1-9B78-AEF9A0A63168}"/>
    <dgm:cxn modelId="{2900B4EF-25AD-4BD0-ACB5-12F76D59F419}" type="presOf" srcId="{09F55346-9A33-447F-A0CE-1E769FE055BC}" destId="{2227F27D-327E-4226-8E3A-BF1749DBE488}" srcOrd="0" destOrd="0" presId="urn:microsoft.com/office/officeart/2018/2/layout/IconVerticalSolidList"/>
    <dgm:cxn modelId="{4EAACC18-49B4-4C37-BF7F-AB9218BC3902}" type="presParOf" srcId="{85F46E55-98E5-425D-ABF2-8900E5FE700A}" destId="{1262CD09-431F-4E48-8706-857D000387B3}" srcOrd="0" destOrd="0" presId="urn:microsoft.com/office/officeart/2018/2/layout/IconVerticalSolidList"/>
    <dgm:cxn modelId="{A06430ED-58E1-4854-B4C7-348C9A8C968E}" type="presParOf" srcId="{1262CD09-431F-4E48-8706-857D000387B3}" destId="{D351F253-D9F6-40B8-B5D8-03435FDDEEB8}" srcOrd="0" destOrd="0" presId="urn:microsoft.com/office/officeart/2018/2/layout/IconVerticalSolidList"/>
    <dgm:cxn modelId="{4F8F60B8-9E1C-461B-9ACA-498D8F0A67BE}" type="presParOf" srcId="{1262CD09-431F-4E48-8706-857D000387B3}" destId="{C54E2E59-611B-48E6-BE91-F730B065A46D}" srcOrd="1" destOrd="0" presId="urn:microsoft.com/office/officeart/2018/2/layout/IconVerticalSolidList"/>
    <dgm:cxn modelId="{C6F905A0-614F-494C-8018-D27145CD085D}" type="presParOf" srcId="{1262CD09-431F-4E48-8706-857D000387B3}" destId="{BF084D56-B626-4B1D-8D82-813C53CAAF27}" srcOrd="2" destOrd="0" presId="urn:microsoft.com/office/officeart/2018/2/layout/IconVerticalSolidList"/>
    <dgm:cxn modelId="{5F4932EC-8D9A-42DF-8F83-04F4ED7C8D59}" type="presParOf" srcId="{1262CD09-431F-4E48-8706-857D000387B3}" destId="{6DE702F5-E9D4-41E3-A7A2-D87A1D291E6B}" srcOrd="3" destOrd="0" presId="urn:microsoft.com/office/officeart/2018/2/layout/IconVerticalSolidList"/>
    <dgm:cxn modelId="{CAAD828E-04AF-4C22-B269-0A2D0A46AD21}" type="presParOf" srcId="{85F46E55-98E5-425D-ABF2-8900E5FE700A}" destId="{C50A7962-3720-46B7-BB3C-ED748D33317F}" srcOrd="1" destOrd="0" presId="urn:microsoft.com/office/officeart/2018/2/layout/IconVerticalSolidList"/>
    <dgm:cxn modelId="{26B31A5A-973C-4FA4-9B1A-8524B6011043}" type="presParOf" srcId="{85F46E55-98E5-425D-ABF2-8900E5FE700A}" destId="{8C632B95-15F1-4E85-A69E-B2CD52E27172}" srcOrd="2" destOrd="0" presId="urn:microsoft.com/office/officeart/2018/2/layout/IconVerticalSolidList"/>
    <dgm:cxn modelId="{F4E7223D-102D-45D8-90E2-2AFF7E7AEF03}" type="presParOf" srcId="{8C632B95-15F1-4E85-A69E-B2CD52E27172}" destId="{11BBF547-9FFB-4F35-BCF8-0EC6FC924F49}" srcOrd="0" destOrd="0" presId="urn:microsoft.com/office/officeart/2018/2/layout/IconVerticalSolidList"/>
    <dgm:cxn modelId="{F7B0DCEE-9610-4E04-89EF-B6F13726C888}" type="presParOf" srcId="{8C632B95-15F1-4E85-A69E-B2CD52E27172}" destId="{3B91616C-9314-45BD-B973-171ACF5EE322}" srcOrd="1" destOrd="0" presId="urn:microsoft.com/office/officeart/2018/2/layout/IconVerticalSolidList"/>
    <dgm:cxn modelId="{CE46F1AD-9E84-4F93-840D-A4269950E009}" type="presParOf" srcId="{8C632B95-15F1-4E85-A69E-B2CD52E27172}" destId="{792185D7-81D3-4577-94F6-F67FB200BAA5}" srcOrd="2" destOrd="0" presId="urn:microsoft.com/office/officeart/2018/2/layout/IconVerticalSolidList"/>
    <dgm:cxn modelId="{A2A261A6-885F-4046-A49A-953C668BE30F}" type="presParOf" srcId="{8C632B95-15F1-4E85-A69E-B2CD52E27172}" destId="{2227F27D-327E-4226-8E3A-BF1749DBE488}" srcOrd="3" destOrd="0" presId="urn:microsoft.com/office/officeart/2018/2/layout/IconVerticalSolidList"/>
    <dgm:cxn modelId="{054677C2-B1B7-4329-B844-B75D15C1DA9C}" type="presParOf" srcId="{85F46E55-98E5-425D-ABF2-8900E5FE700A}" destId="{6ECC2503-FB65-4B4F-A629-379EAD6767FB}" srcOrd="3" destOrd="0" presId="urn:microsoft.com/office/officeart/2018/2/layout/IconVerticalSolidList"/>
    <dgm:cxn modelId="{469F730F-02DF-4ED4-AE35-00A3BA881E4B}" type="presParOf" srcId="{85F46E55-98E5-425D-ABF2-8900E5FE700A}" destId="{324B0D4D-CE13-4563-9856-0AC483DECB88}" srcOrd="4" destOrd="0" presId="urn:microsoft.com/office/officeart/2018/2/layout/IconVerticalSolidList"/>
    <dgm:cxn modelId="{1C5A5585-D3A7-4B29-A7E4-E4E6AACE5399}" type="presParOf" srcId="{324B0D4D-CE13-4563-9856-0AC483DECB88}" destId="{0388B976-C9E9-4E0E-B222-8F6E66307E9B}" srcOrd="0" destOrd="0" presId="urn:microsoft.com/office/officeart/2018/2/layout/IconVerticalSolidList"/>
    <dgm:cxn modelId="{7C9A036A-3793-4EFE-A8FA-EB8F9E567201}" type="presParOf" srcId="{324B0D4D-CE13-4563-9856-0AC483DECB88}" destId="{E8BE93F1-86F0-43E7-8AC9-F75FA67BFC0E}" srcOrd="1" destOrd="0" presId="urn:microsoft.com/office/officeart/2018/2/layout/IconVerticalSolidList"/>
    <dgm:cxn modelId="{58F22C96-A3EB-40CF-B0A2-7F77F01F243B}" type="presParOf" srcId="{324B0D4D-CE13-4563-9856-0AC483DECB88}" destId="{ED139630-10BF-4FBD-9CAB-B9FAC7FF7E6E}" srcOrd="2" destOrd="0" presId="urn:microsoft.com/office/officeart/2018/2/layout/IconVerticalSolidList"/>
    <dgm:cxn modelId="{105C38BE-93A8-473F-B357-14C35BCC75CF}" type="presParOf" srcId="{324B0D4D-CE13-4563-9856-0AC483DECB88}" destId="{DFB726E7-67FD-4422-8A6A-A7C439CD2A35}"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96C9F48-A81F-44FC-9E05-B8F7511D725A}"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07DC9393-7E7E-48A4-965E-0D9A2512E535}">
      <dgm:prSet custT="1"/>
      <dgm:spPr/>
      <dgm:t>
        <a:bodyPr/>
        <a:lstStyle/>
        <a:p>
          <a:pPr>
            <a:lnSpc>
              <a:spcPct val="100000"/>
            </a:lnSpc>
          </a:pPr>
          <a:r>
            <a:rPr lang="nb-NO" sz="2000" b="1"/>
            <a:t>Nasjonal grunndatakoordinator</a:t>
          </a:r>
          <a:endParaRPr lang="en-US" sz="2000"/>
        </a:p>
      </dgm:t>
    </dgm:pt>
    <dgm:pt modelId="{C2668116-EA45-4B91-A101-4D57FCC819A7}" type="parTrans" cxnId="{EA8FA0E2-11AE-4601-A021-8F86EE195858}">
      <dgm:prSet/>
      <dgm:spPr/>
      <dgm:t>
        <a:bodyPr/>
        <a:lstStyle/>
        <a:p>
          <a:endParaRPr lang="en-US"/>
        </a:p>
      </dgm:t>
    </dgm:pt>
    <dgm:pt modelId="{4121BC08-B041-41D1-9B78-AEF9A0A63168}" type="sibTrans" cxnId="{EA8FA0E2-11AE-4601-A021-8F86EE195858}">
      <dgm:prSet/>
      <dgm:spPr/>
      <dgm:t>
        <a:bodyPr/>
        <a:lstStyle/>
        <a:p>
          <a:endParaRPr lang="en-US"/>
        </a:p>
      </dgm:t>
    </dgm:pt>
    <dgm:pt modelId="{85F46E55-98E5-425D-ABF2-8900E5FE700A}" type="pres">
      <dgm:prSet presAssocID="{196C9F48-A81F-44FC-9E05-B8F7511D725A}" presName="root" presStyleCnt="0">
        <dgm:presLayoutVars>
          <dgm:dir/>
          <dgm:resizeHandles val="exact"/>
        </dgm:presLayoutVars>
      </dgm:prSet>
      <dgm:spPr/>
    </dgm:pt>
    <dgm:pt modelId="{1262CD09-431F-4E48-8706-857D000387B3}" type="pres">
      <dgm:prSet presAssocID="{07DC9393-7E7E-48A4-965E-0D9A2512E535}" presName="compNode" presStyleCnt="0"/>
      <dgm:spPr/>
    </dgm:pt>
    <dgm:pt modelId="{D351F253-D9F6-40B8-B5D8-03435FDDEEB8}" type="pres">
      <dgm:prSet presAssocID="{07DC9393-7E7E-48A4-965E-0D9A2512E535}" presName="bgRect" presStyleLbl="bgShp" presStyleIdx="0" presStyleCnt="1"/>
      <dgm:spPr/>
    </dgm:pt>
    <dgm:pt modelId="{C54E2E59-611B-48E6-BE91-F730B065A46D}" type="pres">
      <dgm:prSet presAssocID="{07DC9393-7E7E-48A4-965E-0D9A2512E535}" presName="iconRect" presStyleLbl="nod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eeting"/>
        </a:ext>
      </dgm:extLst>
    </dgm:pt>
    <dgm:pt modelId="{BF084D56-B626-4B1D-8D82-813C53CAAF27}" type="pres">
      <dgm:prSet presAssocID="{07DC9393-7E7E-48A4-965E-0D9A2512E535}" presName="spaceRect" presStyleCnt="0"/>
      <dgm:spPr/>
    </dgm:pt>
    <dgm:pt modelId="{6DE702F5-E9D4-41E3-A7A2-D87A1D291E6B}" type="pres">
      <dgm:prSet presAssocID="{07DC9393-7E7E-48A4-965E-0D9A2512E535}" presName="parTx" presStyleLbl="revTx" presStyleIdx="0" presStyleCnt="1">
        <dgm:presLayoutVars>
          <dgm:chMax val="0"/>
          <dgm:chPref val="0"/>
        </dgm:presLayoutVars>
      </dgm:prSet>
      <dgm:spPr/>
    </dgm:pt>
  </dgm:ptLst>
  <dgm:cxnLst>
    <dgm:cxn modelId="{2E119510-A3B4-4184-8EC6-2027577EB905}" type="presOf" srcId="{07DC9393-7E7E-48A4-965E-0D9A2512E535}" destId="{6DE702F5-E9D4-41E3-A7A2-D87A1D291E6B}" srcOrd="0" destOrd="0" presId="urn:microsoft.com/office/officeart/2018/2/layout/IconVerticalSolidList"/>
    <dgm:cxn modelId="{5B772B13-7631-4060-9998-3360BD3F79E3}" type="presOf" srcId="{196C9F48-A81F-44FC-9E05-B8F7511D725A}" destId="{85F46E55-98E5-425D-ABF2-8900E5FE700A}" srcOrd="0" destOrd="0" presId="urn:microsoft.com/office/officeart/2018/2/layout/IconVerticalSolidList"/>
    <dgm:cxn modelId="{EA8FA0E2-11AE-4601-A021-8F86EE195858}" srcId="{196C9F48-A81F-44FC-9E05-B8F7511D725A}" destId="{07DC9393-7E7E-48A4-965E-0D9A2512E535}" srcOrd="0" destOrd="0" parTransId="{C2668116-EA45-4B91-A101-4D57FCC819A7}" sibTransId="{4121BC08-B041-41D1-9B78-AEF9A0A63168}"/>
    <dgm:cxn modelId="{4EAACC18-49B4-4C37-BF7F-AB9218BC3902}" type="presParOf" srcId="{85F46E55-98E5-425D-ABF2-8900E5FE700A}" destId="{1262CD09-431F-4E48-8706-857D000387B3}" srcOrd="0" destOrd="0" presId="urn:microsoft.com/office/officeart/2018/2/layout/IconVerticalSolidList"/>
    <dgm:cxn modelId="{A06430ED-58E1-4854-B4C7-348C9A8C968E}" type="presParOf" srcId="{1262CD09-431F-4E48-8706-857D000387B3}" destId="{D351F253-D9F6-40B8-B5D8-03435FDDEEB8}" srcOrd="0" destOrd="0" presId="urn:microsoft.com/office/officeart/2018/2/layout/IconVerticalSolidList"/>
    <dgm:cxn modelId="{4F8F60B8-9E1C-461B-9ACA-498D8F0A67BE}" type="presParOf" srcId="{1262CD09-431F-4E48-8706-857D000387B3}" destId="{C54E2E59-611B-48E6-BE91-F730B065A46D}" srcOrd="1" destOrd="0" presId="urn:microsoft.com/office/officeart/2018/2/layout/IconVerticalSolidList"/>
    <dgm:cxn modelId="{C6F905A0-614F-494C-8018-D27145CD085D}" type="presParOf" srcId="{1262CD09-431F-4E48-8706-857D000387B3}" destId="{BF084D56-B626-4B1D-8D82-813C53CAAF27}" srcOrd="2" destOrd="0" presId="urn:microsoft.com/office/officeart/2018/2/layout/IconVerticalSolidList"/>
    <dgm:cxn modelId="{5F4932EC-8D9A-42DF-8F83-04F4ED7C8D59}" type="presParOf" srcId="{1262CD09-431F-4E48-8706-857D000387B3}" destId="{6DE702F5-E9D4-41E3-A7A2-D87A1D291E6B}"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96C9F48-A81F-44FC-9E05-B8F7511D725A}"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FBC3B851-1858-4CCE-933D-0E70CE70BCE6}">
      <dgm:prSet custT="1"/>
      <dgm:spPr/>
      <dgm:t>
        <a:bodyPr/>
        <a:lstStyle/>
        <a:p>
          <a:pPr>
            <a:lnSpc>
              <a:spcPct val="100000"/>
            </a:lnSpc>
          </a:pPr>
          <a:r>
            <a:rPr lang="nb-NO" sz="2000" b="1"/>
            <a:t>Nasjonal grunndataforvalter</a:t>
          </a:r>
          <a:endParaRPr lang="en-US" sz="2000"/>
        </a:p>
      </dgm:t>
    </dgm:pt>
    <dgm:pt modelId="{DF567C97-6933-4329-AAE9-7C2C817D9177}" type="parTrans" cxnId="{B2A0C619-FAA9-4EDC-872B-C7CDD2B18261}">
      <dgm:prSet/>
      <dgm:spPr/>
      <dgm:t>
        <a:bodyPr/>
        <a:lstStyle/>
        <a:p>
          <a:endParaRPr lang="en-US"/>
        </a:p>
      </dgm:t>
    </dgm:pt>
    <dgm:pt modelId="{BF129592-BE89-4F37-94A6-86B82C5097F4}" type="sibTrans" cxnId="{B2A0C619-FAA9-4EDC-872B-C7CDD2B18261}">
      <dgm:prSet/>
      <dgm:spPr/>
      <dgm:t>
        <a:bodyPr/>
        <a:lstStyle/>
        <a:p>
          <a:endParaRPr lang="en-US"/>
        </a:p>
      </dgm:t>
    </dgm:pt>
    <dgm:pt modelId="{85F46E55-98E5-425D-ABF2-8900E5FE700A}" type="pres">
      <dgm:prSet presAssocID="{196C9F48-A81F-44FC-9E05-B8F7511D725A}" presName="root" presStyleCnt="0">
        <dgm:presLayoutVars>
          <dgm:dir/>
          <dgm:resizeHandles val="exact"/>
        </dgm:presLayoutVars>
      </dgm:prSet>
      <dgm:spPr/>
    </dgm:pt>
    <dgm:pt modelId="{324B0D4D-CE13-4563-9856-0AC483DECB88}" type="pres">
      <dgm:prSet presAssocID="{FBC3B851-1858-4CCE-933D-0E70CE70BCE6}" presName="compNode" presStyleCnt="0"/>
      <dgm:spPr/>
    </dgm:pt>
    <dgm:pt modelId="{0388B976-C9E9-4E0E-B222-8F6E66307E9B}" type="pres">
      <dgm:prSet presAssocID="{FBC3B851-1858-4CCE-933D-0E70CE70BCE6}" presName="bgRect" presStyleLbl="bgShp" presStyleIdx="0" presStyleCnt="1"/>
      <dgm:spPr/>
    </dgm:pt>
    <dgm:pt modelId="{E8BE93F1-86F0-43E7-8AC9-F75FA67BFC0E}" type="pres">
      <dgm:prSet presAssocID="{FBC3B851-1858-4CCE-933D-0E70CE70BCE6}" presName="iconRect" presStyleLbl="nod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Dele med heldekkende fyll"/>
        </a:ext>
      </dgm:extLst>
    </dgm:pt>
    <dgm:pt modelId="{ED139630-10BF-4FBD-9CAB-B9FAC7FF7E6E}" type="pres">
      <dgm:prSet presAssocID="{FBC3B851-1858-4CCE-933D-0E70CE70BCE6}" presName="spaceRect" presStyleCnt="0"/>
      <dgm:spPr/>
    </dgm:pt>
    <dgm:pt modelId="{DFB726E7-67FD-4422-8A6A-A7C439CD2A35}" type="pres">
      <dgm:prSet presAssocID="{FBC3B851-1858-4CCE-933D-0E70CE70BCE6}" presName="parTx" presStyleLbl="revTx" presStyleIdx="0" presStyleCnt="1">
        <dgm:presLayoutVars>
          <dgm:chMax val="0"/>
          <dgm:chPref val="0"/>
        </dgm:presLayoutVars>
      </dgm:prSet>
      <dgm:spPr/>
    </dgm:pt>
  </dgm:ptLst>
  <dgm:cxnLst>
    <dgm:cxn modelId="{5B772B13-7631-4060-9998-3360BD3F79E3}" type="presOf" srcId="{196C9F48-A81F-44FC-9E05-B8F7511D725A}" destId="{85F46E55-98E5-425D-ABF2-8900E5FE700A}" srcOrd="0" destOrd="0" presId="urn:microsoft.com/office/officeart/2018/2/layout/IconVerticalSolidList"/>
    <dgm:cxn modelId="{B2A0C619-FAA9-4EDC-872B-C7CDD2B18261}" srcId="{196C9F48-A81F-44FC-9E05-B8F7511D725A}" destId="{FBC3B851-1858-4CCE-933D-0E70CE70BCE6}" srcOrd="0" destOrd="0" parTransId="{DF567C97-6933-4329-AAE9-7C2C817D9177}" sibTransId="{BF129592-BE89-4F37-94A6-86B82C5097F4}"/>
    <dgm:cxn modelId="{663AF640-03D2-4BE5-AFCE-42A5D421A102}" type="presOf" srcId="{FBC3B851-1858-4CCE-933D-0E70CE70BCE6}" destId="{DFB726E7-67FD-4422-8A6A-A7C439CD2A35}" srcOrd="0" destOrd="0" presId="urn:microsoft.com/office/officeart/2018/2/layout/IconVerticalSolidList"/>
    <dgm:cxn modelId="{469F730F-02DF-4ED4-AE35-00A3BA881E4B}" type="presParOf" srcId="{85F46E55-98E5-425D-ABF2-8900E5FE700A}" destId="{324B0D4D-CE13-4563-9856-0AC483DECB88}" srcOrd="0" destOrd="0" presId="urn:microsoft.com/office/officeart/2018/2/layout/IconVerticalSolidList"/>
    <dgm:cxn modelId="{1C5A5585-D3A7-4B29-A7E4-E4E6AACE5399}" type="presParOf" srcId="{324B0D4D-CE13-4563-9856-0AC483DECB88}" destId="{0388B976-C9E9-4E0E-B222-8F6E66307E9B}" srcOrd="0" destOrd="0" presId="urn:microsoft.com/office/officeart/2018/2/layout/IconVerticalSolidList"/>
    <dgm:cxn modelId="{7C9A036A-3793-4EFE-A8FA-EB8F9E567201}" type="presParOf" srcId="{324B0D4D-CE13-4563-9856-0AC483DECB88}" destId="{E8BE93F1-86F0-43E7-8AC9-F75FA67BFC0E}" srcOrd="1" destOrd="0" presId="urn:microsoft.com/office/officeart/2018/2/layout/IconVerticalSolidList"/>
    <dgm:cxn modelId="{58F22C96-A3EB-40CF-B0A2-7F77F01F243B}" type="presParOf" srcId="{324B0D4D-CE13-4563-9856-0AC483DECB88}" destId="{ED139630-10BF-4FBD-9CAB-B9FAC7FF7E6E}" srcOrd="2" destOrd="0" presId="urn:microsoft.com/office/officeart/2018/2/layout/IconVerticalSolidList"/>
    <dgm:cxn modelId="{105C38BE-93A8-473F-B357-14C35BCC75CF}" type="presParOf" srcId="{324B0D4D-CE13-4563-9856-0AC483DECB88}" destId="{DFB726E7-67FD-4422-8A6A-A7C439CD2A35}"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96C9F48-A81F-44FC-9E05-B8F7511D725A}"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09F55346-9A33-447F-A0CE-1E769FE055BC}">
      <dgm:prSet custT="1"/>
      <dgm:spPr/>
      <dgm:t>
        <a:bodyPr/>
        <a:lstStyle/>
        <a:p>
          <a:pPr>
            <a:lnSpc>
              <a:spcPct val="100000"/>
            </a:lnSpc>
          </a:pPr>
          <a:r>
            <a:rPr lang="nb-NO" sz="2000" b="1"/>
            <a:t>Domeneansvarlig</a:t>
          </a:r>
          <a:endParaRPr lang="en-US" sz="2000"/>
        </a:p>
      </dgm:t>
    </dgm:pt>
    <dgm:pt modelId="{C4510DEA-C231-40C9-A7DA-8025941F5985}" type="parTrans" cxnId="{E6E121CC-7C3E-4DA2-A2E1-FF7D28FBCCFC}">
      <dgm:prSet/>
      <dgm:spPr/>
      <dgm:t>
        <a:bodyPr/>
        <a:lstStyle/>
        <a:p>
          <a:endParaRPr lang="en-US"/>
        </a:p>
      </dgm:t>
    </dgm:pt>
    <dgm:pt modelId="{C87BCB02-CFE2-4FE3-BB88-59071A4FF2A8}" type="sibTrans" cxnId="{E6E121CC-7C3E-4DA2-A2E1-FF7D28FBCCFC}">
      <dgm:prSet/>
      <dgm:spPr/>
      <dgm:t>
        <a:bodyPr/>
        <a:lstStyle/>
        <a:p>
          <a:endParaRPr lang="en-US"/>
        </a:p>
      </dgm:t>
    </dgm:pt>
    <dgm:pt modelId="{85F46E55-98E5-425D-ABF2-8900E5FE700A}" type="pres">
      <dgm:prSet presAssocID="{196C9F48-A81F-44FC-9E05-B8F7511D725A}" presName="root" presStyleCnt="0">
        <dgm:presLayoutVars>
          <dgm:dir/>
          <dgm:resizeHandles val="exact"/>
        </dgm:presLayoutVars>
      </dgm:prSet>
      <dgm:spPr/>
    </dgm:pt>
    <dgm:pt modelId="{8C632B95-15F1-4E85-A69E-B2CD52E27172}" type="pres">
      <dgm:prSet presAssocID="{09F55346-9A33-447F-A0CE-1E769FE055BC}" presName="compNode" presStyleCnt="0"/>
      <dgm:spPr/>
    </dgm:pt>
    <dgm:pt modelId="{11BBF547-9FFB-4F35-BCF8-0EC6FC924F49}" type="pres">
      <dgm:prSet presAssocID="{09F55346-9A33-447F-A0CE-1E769FE055BC}" presName="bgRect" presStyleLbl="bgShp" presStyleIdx="0" presStyleCnt="1"/>
      <dgm:spPr/>
    </dgm:pt>
    <dgm:pt modelId="{3B91616C-9314-45BD-B973-171ACF5EE322}" type="pres">
      <dgm:prSet presAssocID="{09F55346-9A33-447F-A0CE-1E769FE055BC}" presName="iconRect" presStyleLbl="node1" presStyleIdx="0" presStyleCnt="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Questions"/>
        </a:ext>
      </dgm:extLst>
    </dgm:pt>
    <dgm:pt modelId="{792185D7-81D3-4577-94F6-F67FB200BAA5}" type="pres">
      <dgm:prSet presAssocID="{09F55346-9A33-447F-A0CE-1E769FE055BC}" presName="spaceRect" presStyleCnt="0"/>
      <dgm:spPr/>
    </dgm:pt>
    <dgm:pt modelId="{2227F27D-327E-4226-8E3A-BF1749DBE488}" type="pres">
      <dgm:prSet presAssocID="{09F55346-9A33-447F-A0CE-1E769FE055BC}" presName="parTx" presStyleLbl="revTx" presStyleIdx="0" presStyleCnt="1">
        <dgm:presLayoutVars>
          <dgm:chMax val="0"/>
          <dgm:chPref val="0"/>
        </dgm:presLayoutVars>
      </dgm:prSet>
      <dgm:spPr/>
    </dgm:pt>
  </dgm:ptLst>
  <dgm:cxnLst>
    <dgm:cxn modelId="{5B772B13-7631-4060-9998-3360BD3F79E3}" type="presOf" srcId="{196C9F48-A81F-44FC-9E05-B8F7511D725A}" destId="{85F46E55-98E5-425D-ABF2-8900E5FE700A}" srcOrd="0" destOrd="0" presId="urn:microsoft.com/office/officeart/2018/2/layout/IconVerticalSolidList"/>
    <dgm:cxn modelId="{E6E121CC-7C3E-4DA2-A2E1-FF7D28FBCCFC}" srcId="{196C9F48-A81F-44FC-9E05-B8F7511D725A}" destId="{09F55346-9A33-447F-A0CE-1E769FE055BC}" srcOrd="0" destOrd="0" parTransId="{C4510DEA-C231-40C9-A7DA-8025941F5985}" sibTransId="{C87BCB02-CFE2-4FE3-BB88-59071A4FF2A8}"/>
    <dgm:cxn modelId="{2900B4EF-25AD-4BD0-ACB5-12F76D59F419}" type="presOf" srcId="{09F55346-9A33-447F-A0CE-1E769FE055BC}" destId="{2227F27D-327E-4226-8E3A-BF1749DBE488}" srcOrd="0" destOrd="0" presId="urn:microsoft.com/office/officeart/2018/2/layout/IconVerticalSolidList"/>
    <dgm:cxn modelId="{26B31A5A-973C-4FA4-9B1A-8524B6011043}" type="presParOf" srcId="{85F46E55-98E5-425D-ABF2-8900E5FE700A}" destId="{8C632B95-15F1-4E85-A69E-B2CD52E27172}" srcOrd="0" destOrd="0" presId="urn:microsoft.com/office/officeart/2018/2/layout/IconVerticalSolidList"/>
    <dgm:cxn modelId="{F4E7223D-102D-45D8-90E2-2AFF7E7AEF03}" type="presParOf" srcId="{8C632B95-15F1-4E85-A69E-B2CD52E27172}" destId="{11BBF547-9FFB-4F35-BCF8-0EC6FC924F49}" srcOrd="0" destOrd="0" presId="urn:microsoft.com/office/officeart/2018/2/layout/IconVerticalSolidList"/>
    <dgm:cxn modelId="{F7B0DCEE-9610-4E04-89EF-B6F13726C888}" type="presParOf" srcId="{8C632B95-15F1-4E85-A69E-B2CD52E27172}" destId="{3B91616C-9314-45BD-B973-171ACF5EE322}" srcOrd="1" destOrd="0" presId="urn:microsoft.com/office/officeart/2018/2/layout/IconVerticalSolidList"/>
    <dgm:cxn modelId="{CE46F1AD-9E84-4F93-840D-A4269950E009}" type="presParOf" srcId="{8C632B95-15F1-4E85-A69E-B2CD52E27172}" destId="{792185D7-81D3-4577-94F6-F67FB200BAA5}" srcOrd="2" destOrd="0" presId="urn:microsoft.com/office/officeart/2018/2/layout/IconVerticalSolidList"/>
    <dgm:cxn modelId="{A2A261A6-885F-4046-A49A-953C668BE30F}" type="presParOf" srcId="{8C632B95-15F1-4E85-A69E-B2CD52E27172}" destId="{2227F27D-327E-4226-8E3A-BF1749DBE488}"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294141-5407-4608-A569-CD9C3F4D1AA6}">
      <dsp:nvSpPr>
        <dsp:cNvPr id="0" name=""/>
        <dsp:cNvSpPr/>
      </dsp:nvSpPr>
      <dsp:spPr>
        <a:xfrm>
          <a:off x="0" y="954964"/>
          <a:ext cx="11400716" cy="176301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202349-980A-4CDF-BDE2-DFE7CE97AB10}">
      <dsp:nvSpPr>
        <dsp:cNvPr id="0" name=""/>
        <dsp:cNvSpPr/>
      </dsp:nvSpPr>
      <dsp:spPr>
        <a:xfrm>
          <a:off x="533310" y="1351642"/>
          <a:ext cx="969656" cy="96965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09AA03A-4901-4593-85C4-2E0F107385B1}">
      <dsp:nvSpPr>
        <dsp:cNvPr id="0" name=""/>
        <dsp:cNvSpPr/>
      </dsp:nvSpPr>
      <dsp:spPr>
        <a:xfrm>
          <a:off x="2036278" y="954964"/>
          <a:ext cx="5130322" cy="1763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585" tIns="186585" rIns="186585" bIns="186585" numCol="1" spcCol="1270" anchor="ctr" anchorCtr="0">
          <a:noAutofit/>
        </a:bodyPr>
        <a:lstStyle/>
        <a:p>
          <a:pPr marL="0" lvl="0" indent="0" algn="l" defTabSz="1111250">
            <a:lnSpc>
              <a:spcPct val="90000"/>
            </a:lnSpc>
            <a:spcBef>
              <a:spcPct val="0"/>
            </a:spcBef>
            <a:spcAft>
              <a:spcPct val="35000"/>
            </a:spcAft>
            <a:buNone/>
          </a:pPr>
          <a:r>
            <a:rPr lang="en-US" sz="2500" kern="1200" err="1"/>
            <a:t>Strategisk</a:t>
          </a:r>
          <a:r>
            <a:rPr lang="en-US" sz="2500" kern="1200"/>
            <a:t> </a:t>
          </a:r>
          <a:r>
            <a:rPr lang="en-US" sz="2500" kern="1200" err="1"/>
            <a:t>samarbeidsråd</a:t>
          </a:r>
          <a:r>
            <a:rPr lang="en-US" sz="2500" kern="1200"/>
            <a:t> </a:t>
          </a:r>
          <a:r>
            <a:rPr lang="en-US" sz="2500" kern="1200" err="1"/>
            <a:t>og</a:t>
          </a:r>
          <a:r>
            <a:rPr lang="en-US" sz="2500" kern="1200"/>
            <a:t> </a:t>
          </a:r>
          <a:r>
            <a:rPr lang="en-US" sz="2500" kern="1200" err="1"/>
            <a:t>rådgivende</a:t>
          </a:r>
          <a:r>
            <a:rPr lang="en-US" sz="2500" kern="1200"/>
            <a:t> organ</a:t>
          </a:r>
        </a:p>
      </dsp:txBody>
      <dsp:txXfrm>
        <a:off x="2036278" y="954964"/>
        <a:ext cx="5130322" cy="1763011"/>
      </dsp:txXfrm>
    </dsp:sp>
    <dsp:sp modelId="{43BAB870-545A-45B1-95D3-996A9F9B8678}">
      <dsp:nvSpPr>
        <dsp:cNvPr id="0" name=""/>
        <dsp:cNvSpPr/>
      </dsp:nvSpPr>
      <dsp:spPr>
        <a:xfrm>
          <a:off x="7166600" y="954964"/>
          <a:ext cx="4234115" cy="1763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585" tIns="186585" rIns="186585" bIns="186585" numCol="1" spcCol="1270" anchor="ctr" anchorCtr="0">
          <a:noAutofit/>
        </a:bodyPr>
        <a:lstStyle/>
        <a:p>
          <a:pPr marL="0" lvl="0" indent="0" algn="l" defTabSz="800100">
            <a:lnSpc>
              <a:spcPct val="90000"/>
            </a:lnSpc>
            <a:spcBef>
              <a:spcPct val="0"/>
            </a:spcBef>
            <a:spcAft>
              <a:spcPct val="35000"/>
            </a:spcAft>
            <a:buNone/>
          </a:pPr>
          <a:r>
            <a:rPr lang="en-US" sz="1800" kern="1200" err="1"/>
            <a:t>Digitaliseringsdirektoratet</a:t>
          </a:r>
          <a:endParaRPr lang="en-US" sz="1800" kern="1200"/>
        </a:p>
        <a:p>
          <a:pPr marL="0" lvl="0" indent="0" algn="l" defTabSz="800100">
            <a:lnSpc>
              <a:spcPct val="90000"/>
            </a:lnSpc>
            <a:spcBef>
              <a:spcPct val="0"/>
            </a:spcBef>
            <a:spcAft>
              <a:spcPct val="35000"/>
            </a:spcAft>
            <a:buNone/>
          </a:pPr>
          <a:r>
            <a:rPr lang="en-US" sz="1800" kern="1200" dirty="0" err="1"/>
            <a:t>Digitaliseringsministeren</a:t>
          </a:r>
          <a:endParaRPr lang="en-US" sz="1800" kern="1200" dirty="0"/>
        </a:p>
      </dsp:txBody>
      <dsp:txXfrm>
        <a:off x="7166600" y="954964"/>
        <a:ext cx="4234115" cy="1763011"/>
      </dsp:txXfrm>
    </dsp:sp>
    <dsp:sp modelId="{166970BB-C583-4B0E-A8E5-10271E9B8C27}">
      <dsp:nvSpPr>
        <dsp:cNvPr id="0" name=""/>
        <dsp:cNvSpPr/>
      </dsp:nvSpPr>
      <dsp:spPr>
        <a:xfrm>
          <a:off x="0" y="3158728"/>
          <a:ext cx="11400716" cy="176301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B2F62C-6BCC-466D-95B1-F2875CADBB9B}">
      <dsp:nvSpPr>
        <dsp:cNvPr id="0" name=""/>
        <dsp:cNvSpPr/>
      </dsp:nvSpPr>
      <dsp:spPr>
        <a:xfrm>
          <a:off x="533310" y="3555406"/>
          <a:ext cx="969656" cy="96965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881AEC2-D3A0-443F-B26E-290E5612FF56}">
      <dsp:nvSpPr>
        <dsp:cNvPr id="0" name=""/>
        <dsp:cNvSpPr/>
      </dsp:nvSpPr>
      <dsp:spPr>
        <a:xfrm>
          <a:off x="2036278" y="3158728"/>
          <a:ext cx="5130322" cy="1763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585" tIns="186585" rIns="186585" bIns="186585" numCol="1" spcCol="1270" anchor="ctr" anchorCtr="0">
          <a:noAutofit/>
        </a:bodyPr>
        <a:lstStyle/>
        <a:p>
          <a:pPr marL="0" lvl="0" indent="0" algn="l" defTabSz="1111250">
            <a:lnSpc>
              <a:spcPct val="90000"/>
            </a:lnSpc>
            <a:spcBef>
              <a:spcPct val="0"/>
            </a:spcBef>
            <a:spcAft>
              <a:spcPct val="35000"/>
            </a:spcAft>
            <a:buNone/>
          </a:pPr>
          <a:r>
            <a:rPr lang="en-US" sz="2500" kern="1200" err="1"/>
            <a:t>Bidra</a:t>
          </a:r>
          <a:r>
            <a:rPr lang="en-US" sz="2500" kern="1200"/>
            <a:t> </a:t>
          </a:r>
          <a:r>
            <a:rPr lang="en-US" sz="2500" kern="1200" err="1"/>
            <a:t>til</a:t>
          </a:r>
          <a:r>
            <a:rPr lang="en-US" sz="2500" kern="1200"/>
            <a:t> </a:t>
          </a:r>
          <a:r>
            <a:rPr lang="en-US" sz="2500" kern="1200" err="1"/>
            <a:t>samordnet</a:t>
          </a:r>
          <a:r>
            <a:rPr lang="en-US" sz="2500" kern="1200"/>
            <a:t> </a:t>
          </a:r>
          <a:r>
            <a:rPr lang="en-US" sz="2500" kern="1200" err="1"/>
            <a:t>digitalisering</a:t>
          </a:r>
          <a:r>
            <a:rPr lang="en-US" sz="2500" kern="1200"/>
            <a:t> av </a:t>
          </a:r>
          <a:r>
            <a:rPr lang="en-US" sz="2500" kern="1200" err="1"/>
            <a:t>offentlig</a:t>
          </a:r>
          <a:r>
            <a:rPr lang="en-US" sz="2500" kern="1200"/>
            <a:t> </a:t>
          </a:r>
          <a:r>
            <a:rPr lang="en-US" sz="2500" kern="1200" err="1"/>
            <a:t>sektor</a:t>
          </a:r>
          <a:r>
            <a:rPr lang="en-US" sz="2500" kern="1200"/>
            <a:t> </a:t>
          </a:r>
        </a:p>
      </dsp:txBody>
      <dsp:txXfrm>
        <a:off x="2036278" y="3158728"/>
        <a:ext cx="5130322" cy="1763011"/>
      </dsp:txXfrm>
    </dsp:sp>
    <dsp:sp modelId="{7E4E4021-0411-4C36-BA07-3D62241113E7}">
      <dsp:nvSpPr>
        <dsp:cNvPr id="0" name=""/>
        <dsp:cNvSpPr/>
      </dsp:nvSpPr>
      <dsp:spPr>
        <a:xfrm>
          <a:off x="7166600" y="3158728"/>
          <a:ext cx="4234115" cy="17630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585" tIns="186585" rIns="186585" bIns="186585" numCol="1" spcCol="1270" anchor="ctr" anchorCtr="0">
          <a:noAutofit/>
        </a:bodyPr>
        <a:lstStyle/>
        <a:p>
          <a:pPr marL="0" lvl="0" indent="0" algn="l" defTabSz="800100">
            <a:lnSpc>
              <a:spcPct val="90000"/>
            </a:lnSpc>
            <a:spcBef>
              <a:spcPct val="0"/>
            </a:spcBef>
            <a:spcAft>
              <a:spcPct val="35000"/>
            </a:spcAft>
            <a:buNone/>
          </a:pPr>
          <a:r>
            <a:rPr lang="en-US" sz="1800" kern="1200" err="1">
              <a:latin typeface="Arial" panose="020B0604020202020204"/>
            </a:rPr>
            <a:t>Gevinster</a:t>
          </a:r>
          <a:r>
            <a:rPr lang="en-US" sz="1800" kern="1200"/>
            <a:t> for </a:t>
          </a:r>
          <a:r>
            <a:rPr lang="en-US" sz="1800" kern="1200" err="1"/>
            <a:t>innbyggere</a:t>
          </a:r>
          <a:r>
            <a:rPr lang="en-US" sz="1800" kern="1200"/>
            <a:t>, </a:t>
          </a:r>
          <a:r>
            <a:rPr lang="en-US" sz="1800" kern="1200" err="1"/>
            <a:t>næringsliv</a:t>
          </a:r>
          <a:r>
            <a:rPr lang="en-US" sz="1800" kern="1200"/>
            <a:t>, </a:t>
          </a:r>
          <a:r>
            <a:rPr lang="en-US" sz="1800" kern="1200" err="1"/>
            <a:t>frivillig</a:t>
          </a:r>
          <a:r>
            <a:rPr lang="en-US" sz="1800" kern="1200"/>
            <a:t> </a:t>
          </a:r>
          <a:r>
            <a:rPr lang="en-US" sz="1800" kern="1200" err="1"/>
            <a:t>sektor</a:t>
          </a:r>
          <a:r>
            <a:rPr lang="en-US" sz="1800" kern="1200"/>
            <a:t> </a:t>
          </a:r>
          <a:r>
            <a:rPr lang="en-US" sz="1800" kern="1200" err="1"/>
            <a:t>og</a:t>
          </a:r>
          <a:r>
            <a:rPr lang="en-US" sz="1800" kern="1200"/>
            <a:t> </a:t>
          </a:r>
          <a:r>
            <a:rPr lang="en-US" sz="1800" kern="1200" err="1"/>
            <a:t>offentlige</a:t>
          </a:r>
          <a:r>
            <a:rPr lang="en-US" sz="1800" kern="1200"/>
            <a:t> </a:t>
          </a:r>
          <a:r>
            <a:rPr lang="en-US" sz="1800" kern="1200" err="1"/>
            <a:t>virksomheter</a:t>
          </a:r>
          <a:endParaRPr lang="en-US" sz="1800" kern="1200"/>
        </a:p>
      </dsp:txBody>
      <dsp:txXfrm>
        <a:off x="7166600" y="3158728"/>
        <a:ext cx="4234115" cy="17630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489D0D-50EE-4890-97C0-E13EABF6E05E}">
      <dsp:nvSpPr>
        <dsp:cNvPr id="0" name=""/>
        <dsp:cNvSpPr/>
      </dsp:nvSpPr>
      <dsp:spPr>
        <a:xfrm>
          <a:off x="0" y="703"/>
          <a:ext cx="12295197" cy="1646698"/>
        </a:xfrm>
        <a:prstGeom prst="roundRect">
          <a:avLst>
            <a:gd name="adj" fmla="val 10000"/>
          </a:avLst>
        </a:prstGeom>
        <a:solidFill>
          <a:srgbClr val="BEE1FF"/>
        </a:solidFill>
        <a:ln>
          <a:noFill/>
        </a:ln>
        <a:effectLst/>
      </dsp:spPr>
      <dsp:style>
        <a:lnRef idx="0">
          <a:scrgbClr r="0" g="0" b="0"/>
        </a:lnRef>
        <a:fillRef idx="1">
          <a:scrgbClr r="0" g="0" b="0"/>
        </a:fillRef>
        <a:effectRef idx="0">
          <a:scrgbClr r="0" g="0" b="0"/>
        </a:effectRef>
        <a:fontRef idx="minor"/>
      </dsp:style>
    </dsp:sp>
    <dsp:sp modelId="{137AD3DD-D0EE-46D3-BF6E-4BC72CABC2C9}">
      <dsp:nvSpPr>
        <dsp:cNvPr id="0" name=""/>
        <dsp:cNvSpPr/>
      </dsp:nvSpPr>
      <dsp:spPr>
        <a:xfrm>
          <a:off x="498126" y="371210"/>
          <a:ext cx="905683" cy="905683"/>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F3B78F7-DB77-4135-90CC-9697E475FF89}">
      <dsp:nvSpPr>
        <dsp:cNvPr id="0" name=""/>
        <dsp:cNvSpPr/>
      </dsp:nvSpPr>
      <dsp:spPr>
        <a:xfrm>
          <a:off x="1901936" y="703"/>
          <a:ext cx="10393260" cy="1646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276" tIns="174276" rIns="174276" bIns="174276" numCol="1" spcCol="1270" anchor="ctr" anchorCtr="0">
          <a:noAutofit/>
        </a:bodyPr>
        <a:lstStyle/>
        <a:p>
          <a:pPr marL="0" lvl="0" indent="0" algn="l" defTabSz="1111250">
            <a:lnSpc>
              <a:spcPct val="100000"/>
            </a:lnSpc>
            <a:spcBef>
              <a:spcPct val="0"/>
            </a:spcBef>
            <a:spcAft>
              <a:spcPct val="35000"/>
            </a:spcAft>
            <a:buNone/>
          </a:pPr>
          <a:r>
            <a:rPr lang="nb-NO" sz="2500" kern="1200" dirty="0"/>
            <a:t>De nasjonale fellesregistrene er et utgangspunkt, men hvem tegner resten av "toppkartet"? </a:t>
          </a:r>
          <a:endParaRPr lang="en-US" sz="2500" kern="1200" dirty="0"/>
        </a:p>
      </dsp:txBody>
      <dsp:txXfrm>
        <a:off x="1901936" y="703"/>
        <a:ext cx="10393260" cy="1646698"/>
      </dsp:txXfrm>
    </dsp:sp>
    <dsp:sp modelId="{8672BB61-0E2E-49CF-B9DD-24904C479A57}">
      <dsp:nvSpPr>
        <dsp:cNvPr id="0" name=""/>
        <dsp:cNvSpPr/>
      </dsp:nvSpPr>
      <dsp:spPr>
        <a:xfrm>
          <a:off x="0" y="2059076"/>
          <a:ext cx="12295197" cy="1646698"/>
        </a:xfrm>
        <a:prstGeom prst="roundRect">
          <a:avLst>
            <a:gd name="adj" fmla="val 10000"/>
          </a:avLst>
        </a:prstGeom>
        <a:solidFill>
          <a:schemeClr val="accent6">
            <a:lumMod val="20000"/>
            <a:lumOff val="80000"/>
          </a:schemeClr>
        </a:solidFill>
        <a:ln>
          <a:noFill/>
        </a:ln>
        <a:effectLst/>
      </dsp:spPr>
      <dsp:style>
        <a:lnRef idx="0">
          <a:scrgbClr r="0" g="0" b="0"/>
        </a:lnRef>
        <a:fillRef idx="1">
          <a:scrgbClr r="0" g="0" b="0"/>
        </a:fillRef>
        <a:effectRef idx="0">
          <a:scrgbClr r="0" g="0" b="0"/>
        </a:effectRef>
        <a:fontRef idx="minor"/>
      </dsp:style>
    </dsp:sp>
    <dsp:sp modelId="{2B6FF933-04EE-4A89-83D2-96731B7008AE}">
      <dsp:nvSpPr>
        <dsp:cNvPr id="0" name=""/>
        <dsp:cNvSpPr/>
      </dsp:nvSpPr>
      <dsp:spPr>
        <a:xfrm>
          <a:off x="498126" y="2429583"/>
          <a:ext cx="905683" cy="90568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71DE986-2AFA-42EC-98CE-FB1F3800201D}">
      <dsp:nvSpPr>
        <dsp:cNvPr id="0" name=""/>
        <dsp:cNvSpPr/>
      </dsp:nvSpPr>
      <dsp:spPr>
        <a:xfrm>
          <a:off x="1901936" y="2059076"/>
          <a:ext cx="10393260" cy="1646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276" tIns="174276" rIns="174276" bIns="174276" numCol="1" spcCol="1270" anchor="ctr" anchorCtr="0">
          <a:noAutofit/>
        </a:bodyPr>
        <a:lstStyle/>
        <a:p>
          <a:pPr marL="0" lvl="0" indent="0" algn="l" defTabSz="1111250">
            <a:lnSpc>
              <a:spcPct val="100000"/>
            </a:lnSpc>
            <a:spcBef>
              <a:spcPct val="0"/>
            </a:spcBef>
            <a:spcAft>
              <a:spcPct val="35000"/>
            </a:spcAft>
            <a:buNone/>
          </a:pPr>
          <a:r>
            <a:rPr lang="nb-NO" sz="2500" kern="1200" dirty="0"/>
            <a:t>Hvordan sørger vi for at de gode autoritative kildene svarer ut alle de behovene de skal dekke?</a:t>
          </a:r>
          <a:endParaRPr lang="en-US" sz="2500" kern="1200" dirty="0"/>
        </a:p>
      </dsp:txBody>
      <dsp:txXfrm>
        <a:off x="1901936" y="2059076"/>
        <a:ext cx="10393260" cy="1646698"/>
      </dsp:txXfrm>
    </dsp:sp>
    <dsp:sp modelId="{D773B60A-FE94-4371-8744-9B1BF78A091C}">
      <dsp:nvSpPr>
        <dsp:cNvPr id="0" name=""/>
        <dsp:cNvSpPr/>
      </dsp:nvSpPr>
      <dsp:spPr>
        <a:xfrm>
          <a:off x="0" y="4117449"/>
          <a:ext cx="12295197" cy="1646698"/>
        </a:xfrm>
        <a:prstGeom prst="roundRect">
          <a:avLst>
            <a:gd name="adj" fmla="val 10000"/>
          </a:avLst>
        </a:prstGeom>
        <a:solidFill>
          <a:schemeClr val="accent6">
            <a:lumMod val="20000"/>
            <a:lumOff val="80000"/>
          </a:schemeClr>
        </a:solidFill>
        <a:ln>
          <a:noFill/>
        </a:ln>
        <a:effectLst/>
      </dsp:spPr>
      <dsp:style>
        <a:lnRef idx="0">
          <a:scrgbClr r="0" g="0" b="0"/>
        </a:lnRef>
        <a:fillRef idx="1">
          <a:scrgbClr r="0" g="0" b="0"/>
        </a:fillRef>
        <a:effectRef idx="0">
          <a:scrgbClr r="0" g="0" b="0"/>
        </a:effectRef>
        <a:fontRef idx="minor"/>
      </dsp:style>
    </dsp:sp>
    <dsp:sp modelId="{6B9CB222-97D4-4993-9F01-202165E8987B}">
      <dsp:nvSpPr>
        <dsp:cNvPr id="0" name=""/>
        <dsp:cNvSpPr/>
      </dsp:nvSpPr>
      <dsp:spPr>
        <a:xfrm>
          <a:off x="498126" y="4487956"/>
          <a:ext cx="905683" cy="905683"/>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C3B5684-509D-4456-B07D-89A78B35CF3A}">
      <dsp:nvSpPr>
        <dsp:cNvPr id="0" name=""/>
        <dsp:cNvSpPr/>
      </dsp:nvSpPr>
      <dsp:spPr>
        <a:xfrm>
          <a:off x="1901936" y="4117449"/>
          <a:ext cx="10393260" cy="1646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276" tIns="174276" rIns="174276" bIns="174276" numCol="1" spcCol="1270" anchor="ctr" anchorCtr="0">
          <a:noAutofit/>
        </a:bodyPr>
        <a:lstStyle/>
        <a:p>
          <a:pPr marL="0" lvl="0" indent="0" algn="l" defTabSz="1111250">
            <a:lnSpc>
              <a:spcPct val="100000"/>
            </a:lnSpc>
            <a:spcBef>
              <a:spcPct val="0"/>
            </a:spcBef>
            <a:spcAft>
              <a:spcPct val="35000"/>
            </a:spcAft>
            <a:buNone/>
          </a:pPr>
          <a:r>
            <a:rPr lang="nb-NO" sz="2500" kern="1200" dirty="0"/>
            <a:t>Hvordan jobber vi med å utvikle regelverk som kan bruke "data som finnes"? </a:t>
          </a:r>
          <a:endParaRPr lang="en-US" sz="2500" kern="1200" dirty="0"/>
        </a:p>
      </dsp:txBody>
      <dsp:txXfrm>
        <a:off x="1901936" y="4117449"/>
        <a:ext cx="10393260" cy="164669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51F253-D9F6-40B8-B5D8-03435FDDEEB8}">
      <dsp:nvSpPr>
        <dsp:cNvPr id="0" name=""/>
        <dsp:cNvSpPr/>
      </dsp:nvSpPr>
      <dsp:spPr>
        <a:xfrm>
          <a:off x="0" y="732"/>
          <a:ext cx="14579710" cy="171347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4E2E59-611B-48E6-BE91-F730B065A46D}">
      <dsp:nvSpPr>
        <dsp:cNvPr id="0" name=""/>
        <dsp:cNvSpPr/>
      </dsp:nvSpPr>
      <dsp:spPr>
        <a:xfrm>
          <a:off x="518326" y="386264"/>
          <a:ext cx="942412" cy="94241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DE702F5-E9D4-41E3-A7A2-D87A1D291E6B}">
      <dsp:nvSpPr>
        <dsp:cNvPr id="0" name=""/>
        <dsp:cNvSpPr/>
      </dsp:nvSpPr>
      <dsp:spPr>
        <a:xfrm>
          <a:off x="1979065" y="732"/>
          <a:ext cx="12600644" cy="1713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343" tIns="181343" rIns="181343" bIns="181343" numCol="1" spcCol="1270" anchor="ctr" anchorCtr="0">
          <a:noAutofit/>
        </a:bodyPr>
        <a:lstStyle/>
        <a:p>
          <a:pPr marL="0" lvl="0" indent="0" algn="l" defTabSz="889000">
            <a:lnSpc>
              <a:spcPct val="100000"/>
            </a:lnSpc>
            <a:spcBef>
              <a:spcPct val="0"/>
            </a:spcBef>
            <a:spcAft>
              <a:spcPct val="35000"/>
            </a:spcAft>
            <a:buNone/>
          </a:pPr>
          <a:r>
            <a:rPr lang="nb-NO" sz="2000" b="1" kern="1200"/>
            <a:t>Nasjonal grunndatakoordinator</a:t>
          </a:r>
          <a:endParaRPr lang="en-US" sz="2000" kern="1200"/>
        </a:p>
      </dsp:txBody>
      <dsp:txXfrm>
        <a:off x="1979065" y="732"/>
        <a:ext cx="12600644" cy="1713476"/>
      </dsp:txXfrm>
    </dsp:sp>
    <dsp:sp modelId="{11BBF547-9FFB-4F35-BCF8-0EC6FC924F49}">
      <dsp:nvSpPr>
        <dsp:cNvPr id="0" name=""/>
        <dsp:cNvSpPr/>
      </dsp:nvSpPr>
      <dsp:spPr>
        <a:xfrm>
          <a:off x="0" y="2142578"/>
          <a:ext cx="14579710" cy="171347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91616C-9314-45BD-B973-171ACF5EE322}">
      <dsp:nvSpPr>
        <dsp:cNvPr id="0" name=""/>
        <dsp:cNvSpPr/>
      </dsp:nvSpPr>
      <dsp:spPr>
        <a:xfrm>
          <a:off x="518326" y="2528110"/>
          <a:ext cx="942412" cy="94241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227F27D-327E-4226-8E3A-BF1749DBE488}">
      <dsp:nvSpPr>
        <dsp:cNvPr id="0" name=""/>
        <dsp:cNvSpPr/>
      </dsp:nvSpPr>
      <dsp:spPr>
        <a:xfrm>
          <a:off x="1979065" y="2142578"/>
          <a:ext cx="12600644" cy="1713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343" tIns="181343" rIns="181343" bIns="181343" numCol="1" spcCol="1270" anchor="ctr" anchorCtr="0">
          <a:noAutofit/>
        </a:bodyPr>
        <a:lstStyle/>
        <a:p>
          <a:pPr marL="0" lvl="0" indent="0" algn="l" defTabSz="889000">
            <a:lnSpc>
              <a:spcPct val="100000"/>
            </a:lnSpc>
            <a:spcBef>
              <a:spcPct val="0"/>
            </a:spcBef>
            <a:spcAft>
              <a:spcPct val="35000"/>
            </a:spcAft>
            <a:buNone/>
          </a:pPr>
          <a:r>
            <a:rPr lang="nb-NO" sz="2000" b="1" kern="1200"/>
            <a:t>Domeneansvarlig</a:t>
          </a:r>
          <a:endParaRPr lang="en-US" sz="2000" kern="1200"/>
        </a:p>
      </dsp:txBody>
      <dsp:txXfrm>
        <a:off x="1979065" y="2142578"/>
        <a:ext cx="12600644" cy="1713476"/>
      </dsp:txXfrm>
    </dsp:sp>
    <dsp:sp modelId="{0388B976-C9E9-4E0E-B222-8F6E66307E9B}">
      <dsp:nvSpPr>
        <dsp:cNvPr id="0" name=""/>
        <dsp:cNvSpPr/>
      </dsp:nvSpPr>
      <dsp:spPr>
        <a:xfrm>
          <a:off x="0" y="4284424"/>
          <a:ext cx="14579710" cy="171347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8BE93F1-86F0-43E7-8AC9-F75FA67BFC0E}">
      <dsp:nvSpPr>
        <dsp:cNvPr id="0" name=""/>
        <dsp:cNvSpPr/>
      </dsp:nvSpPr>
      <dsp:spPr>
        <a:xfrm>
          <a:off x="518326" y="4669957"/>
          <a:ext cx="942412" cy="94241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FB726E7-67FD-4422-8A6A-A7C439CD2A35}">
      <dsp:nvSpPr>
        <dsp:cNvPr id="0" name=""/>
        <dsp:cNvSpPr/>
      </dsp:nvSpPr>
      <dsp:spPr>
        <a:xfrm>
          <a:off x="1979065" y="4284424"/>
          <a:ext cx="12600644" cy="1713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343" tIns="181343" rIns="181343" bIns="181343" numCol="1" spcCol="1270" anchor="ctr" anchorCtr="0">
          <a:noAutofit/>
        </a:bodyPr>
        <a:lstStyle/>
        <a:p>
          <a:pPr marL="0" lvl="0" indent="0" algn="l" defTabSz="889000">
            <a:lnSpc>
              <a:spcPct val="100000"/>
            </a:lnSpc>
            <a:spcBef>
              <a:spcPct val="0"/>
            </a:spcBef>
            <a:spcAft>
              <a:spcPct val="35000"/>
            </a:spcAft>
            <a:buNone/>
          </a:pPr>
          <a:r>
            <a:rPr lang="nb-NO" sz="2000" b="1" kern="1200"/>
            <a:t>Grunndataforvalter</a:t>
          </a:r>
          <a:endParaRPr lang="en-US" sz="2000" kern="1200"/>
        </a:p>
      </dsp:txBody>
      <dsp:txXfrm>
        <a:off x="1979065" y="4284424"/>
        <a:ext cx="12600644" cy="171347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51F253-D9F6-40B8-B5D8-03435FDDEEB8}">
      <dsp:nvSpPr>
        <dsp:cNvPr id="0" name=""/>
        <dsp:cNvSpPr/>
      </dsp:nvSpPr>
      <dsp:spPr>
        <a:xfrm>
          <a:off x="0" y="2099521"/>
          <a:ext cx="14579710" cy="179959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4E2E59-611B-48E6-BE91-F730B065A46D}">
      <dsp:nvSpPr>
        <dsp:cNvPr id="0" name=""/>
        <dsp:cNvSpPr/>
      </dsp:nvSpPr>
      <dsp:spPr>
        <a:xfrm>
          <a:off x="544376" y="2504429"/>
          <a:ext cx="989774" cy="98977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DE702F5-E9D4-41E3-A7A2-D87A1D291E6B}">
      <dsp:nvSpPr>
        <dsp:cNvPr id="0" name=""/>
        <dsp:cNvSpPr/>
      </dsp:nvSpPr>
      <dsp:spPr>
        <a:xfrm>
          <a:off x="2078526" y="2099521"/>
          <a:ext cx="12501183" cy="1799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457" tIns="190457" rIns="190457" bIns="190457" numCol="1" spcCol="1270" anchor="ctr" anchorCtr="0">
          <a:noAutofit/>
        </a:bodyPr>
        <a:lstStyle/>
        <a:p>
          <a:pPr marL="0" lvl="0" indent="0" algn="l" defTabSz="889000">
            <a:lnSpc>
              <a:spcPct val="100000"/>
            </a:lnSpc>
            <a:spcBef>
              <a:spcPct val="0"/>
            </a:spcBef>
            <a:spcAft>
              <a:spcPct val="35000"/>
            </a:spcAft>
            <a:buNone/>
          </a:pPr>
          <a:r>
            <a:rPr lang="nb-NO" sz="2000" b="1" kern="1200"/>
            <a:t>Nasjonal grunndatakoordinator</a:t>
          </a:r>
          <a:endParaRPr lang="en-US" sz="2000" kern="1200"/>
        </a:p>
      </dsp:txBody>
      <dsp:txXfrm>
        <a:off x="2078526" y="2099521"/>
        <a:ext cx="12501183" cy="179959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88B976-C9E9-4E0E-B222-8F6E66307E9B}">
      <dsp:nvSpPr>
        <dsp:cNvPr id="0" name=""/>
        <dsp:cNvSpPr/>
      </dsp:nvSpPr>
      <dsp:spPr>
        <a:xfrm>
          <a:off x="0" y="2099521"/>
          <a:ext cx="14579710" cy="179959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8BE93F1-86F0-43E7-8AC9-F75FA67BFC0E}">
      <dsp:nvSpPr>
        <dsp:cNvPr id="0" name=""/>
        <dsp:cNvSpPr/>
      </dsp:nvSpPr>
      <dsp:spPr>
        <a:xfrm>
          <a:off x="544376" y="2504429"/>
          <a:ext cx="989774" cy="98977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FB726E7-67FD-4422-8A6A-A7C439CD2A35}">
      <dsp:nvSpPr>
        <dsp:cNvPr id="0" name=""/>
        <dsp:cNvSpPr/>
      </dsp:nvSpPr>
      <dsp:spPr>
        <a:xfrm>
          <a:off x="2078526" y="2099521"/>
          <a:ext cx="12501183" cy="1799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457" tIns="190457" rIns="190457" bIns="190457" numCol="1" spcCol="1270" anchor="ctr" anchorCtr="0">
          <a:noAutofit/>
        </a:bodyPr>
        <a:lstStyle/>
        <a:p>
          <a:pPr marL="0" lvl="0" indent="0" algn="l" defTabSz="889000">
            <a:lnSpc>
              <a:spcPct val="100000"/>
            </a:lnSpc>
            <a:spcBef>
              <a:spcPct val="0"/>
            </a:spcBef>
            <a:spcAft>
              <a:spcPct val="35000"/>
            </a:spcAft>
            <a:buNone/>
          </a:pPr>
          <a:r>
            <a:rPr lang="nb-NO" sz="2000" b="1" kern="1200"/>
            <a:t>Nasjonal grunndataforvalter</a:t>
          </a:r>
          <a:endParaRPr lang="en-US" sz="2000" kern="1200"/>
        </a:p>
      </dsp:txBody>
      <dsp:txXfrm>
        <a:off x="2078526" y="2099521"/>
        <a:ext cx="12501183" cy="17995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BBF547-9FFB-4F35-BCF8-0EC6FC924F49}">
      <dsp:nvSpPr>
        <dsp:cNvPr id="0" name=""/>
        <dsp:cNvSpPr/>
      </dsp:nvSpPr>
      <dsp:spPr>
        <a:xfrm>
          <a:off x="0" y="2099521"/>
          <a:ext cx="14579710" cy="179959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91616C-9314-45BD-B973-171ACF5EE322}">
      <dsp:nvSpPr>
        <dsp:cNvPr id="0" name=""/>
        <dsp:cNvSpPr/>
      </dsp:nvSpPr>
      <dsp:spPr>
        <a:xfrm>
          <a:off x="544376" y="2504429"/>
          <a:ext cx="989774" cy="98977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227F27D-327E-4226-8E3A-BF1749DBE488}">
      <dsp:nvSpPr>
        <dsp:cNvPr id="0" name=""/>
        <dsp:cNvSpPr/>
      </dsp:nvSpPr>
      <dsp:spPr>
        <a:xfrm>
          <a:off x="2078526" y="2099521"/>
          <a:ext cx="12501183" cy="1799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457" tIns="190457" rIns="190457" bIns="190457" numCol="1" spcCol="1270" anchor="ctr" anchorCtr="0">
          <a:noAutofit/>
        </a:bodyPr>
        <a:lstStyle/>
        <a:p>
          <a:pPr marL="0" lvl="0" indent="0" algn="l" defTabSz="889000">
            <a:lnSpc>
              <a:spcPct val="100000"/>
            </a:lnSpc>
            <a:spcBef>
              <a:spcPct val="0"/>
            </a:spcBef>
            <a:spcAft>
              <a:spcPct val="35000"/>
            </a:spcAft>
            <a:buNone/>
          </a:pPr>
          <a:r>
            <a:rPr lang="nb-NO" sz="2000" b="1" kern="1200"/>
            <a:t>Domeneansvarlig</a:t>
          </a:r>
          <a:endParaRPr lang="en-US" sz="2000" kern="1200"/>
        </a:p>
      </dsp:txBody>
      <dsp:txXfrm>
        <a:off x="2078526" y="2099521"/>
        <a:ext cx="12501183" cy="179959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C97D9F32-F20C-4DB6-9AA8-FF5CEA8D115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a:extLst>
              <a:ext uri="{FF2B5EF4-FFF2-40B4-BE49-F238E27FC236}">
                <a16:creationId xmlns:a16="http://schemas.microsoft.com/office/drawing/2014/main" id="{159CB09C-20D6-4E98-B90F-BDF87D963BC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5AD78B-924F-4294-8809-135CCCE6CC67}" type="datetimeFigureOut">
              <a:rPr lang="nb-NO" smtClean="0"/>
              <a:t>06.11.2024</a:t>
            </a:fld>
            <a:endParaRPr lang="nb-NO"/>
          </a:p>
        </p:txBody>
      </p:sp>
      <p:sp>
        <p:nvSpPr>
          <p:cNvPr id="4" name="Plassholder for bunntekst 3">
            <a:extLst>
              <a:ext uri="{FF2B5EF4-FFF2-40B4-BE49-F238E27FC236}">
                <a16:creationId xmlns:a16="http://schemas.microsoft.com/office/drawing/2014/main" id="{06CB1BA3-312D-4209-8EA0-1B3A050A5B7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a:extLst>
              <a:ext uri="{FF2B5EF4-FFF2-40B4-BE49-F238E27FC236}">
                <a16:creationId xmlns:a16="http://schemas.microsoft.com/office/drawing/2014/main" id="{41C6328D-6A92-426F-9F1D-E51EC222C29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C4377C6-E647-4E98-8F65-2DC6962E8EDF}" type="slidenum">
              <a:rPr lang="nb-NO" smtClean="0"/>
              <a:t>‹#›</a:t>
            </a:fld>
            <a:endParaRPr lang="nb-NO"/>
          </a:p>
        </p:txBody>
      </p:sp>
    </p:spTree>
    <p:extLst>
      <p:ext uri="{BB962C8B-B14F-4D97-AF65-F5344CB8AC3E}">
        <p14:creationId xmlns:p14="http://schemas.microsoft.com/office/powerpoint/2010/main" val="2775475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5E43B8-4715-482B-B156-531BD5603FDA}" type="datetimeFigureOut">
              <a:rPr lang="nb-NO" smtClean="0"/>
              <a:t>05.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CC3748-E220-4A3C-8BAC-75F60CBB2331}" type="slidenum">
              <a:rPr lang="nb-NO" smtClean="0"/>
              <a:t>‹#›</a:t>
            </a:fld>
            <a:endParaRPr lang="nb-NO"/>
          </a:p>
        </p:txBody>
      </p:sp>
    </p:spTree>
    <p:extLst>
      <p:ext uri="{BB962C8B-B14F-4D97-AF65-F5344CB8AC3E}">
        <p14:creationId xmlns:p14="http://schemas.microsoft.com/office/powerpoint/2010/main" val="1521236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85E1D8-4CDE-4D36-9179-93FF6F942BB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43771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4CC3748-E220-4A3C-8BAC-75F60CBB2331}" type="slidenum">
              <a:rPr lang="nb-NO" smtClean="0"/>
              <a:t>14</a:t>
            </a:fld>
            <a:endParaRPr lang="nb-NO"/>
          </a:p>
        </p:txBody>
      </p:sp>
    </p:spTree>
    <p:extLst>
      <p:ext uri="{BB962C8B-B14F-4D97-AF65-F5344CB8AC3E}">
        <p14:creationId xmlns:p14="http://schemas.microsoft.com/office/powerpoint/2010/main" val="2099846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08326-D814-43B6-8292-F8410BB0D31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59232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491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kumimoji="0" lang="nb-NO" sz="1200" b="0" i="0" u="none" strike="noStrike" kern="1200" cap="none" spc="0" normalizeH="0" baseline="0" noProof="0">
              <a:ln>
                <a:noFill/>
              </a:ln>
              <a:solidFill>
                <a:srgbClr val="1E2B3C"/>
              </a:solidFill>
              <a:effectLst/>
              <a:uLnTx/>
              <a:uFillTx/>
              <a:latin typeface="Arial" panose="020B0604020202020204"/>
              <a:ea typeface="+mn-ea"/>
              <a:cs typeface="+mn-cs"/>
            </a:endParaRPr>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75D5A7-3C7E-42F9-83E8-2A839AE127A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2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610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28600" indent="-228600">
              <a:buAutoNum type="arabicPeriod"/>
            </a:pPr>
            <a:r>
              <a:rPr lang="nb-NO" noProof="0"/>
              <a:t>Opprette domener med ansvarlige for prosesser mellom dataprodusenter, tilbydere og konsumenter innenfor sitt domene og for utveksling med andre domener. Det finnes noen domener I dag, person, virksomhet og </a:t>
            </a:r>
            <a:r>
              <a:rPr lang="nb-NO" noProof="0" err="1"/>
              <a:t>eiendom,roller</a:t>
            </a:r>
            <a:r>
              <a:rPr lang="nb-NO" noProof="0"/>
              <a:t>,  ansvar  og samhandlingen innenfor domenet er ikke definert. Domenet må også ha prosesser for å prioritere og imøtekomme nye behov. Nye domener kan være: </a:t>
            </a:r>
          </a:p>
          <a:p>
            <a:pPr marL="685800" lvl="1" indent="-228600">
              <a:buAutoNum type="arabicPeriod"/>
            </a:pPr>
            <a:r>
              <a:rPr lang="nb-NO" noProof="0"/>
              <a:t>Geodata</a:t>
            </a:r>
          </a:p>
          <a:p>
            <a:pPr marL="685800" lvl="1" indent="-228600">
              <a:buAutoNum type="arabicPeriod"/>
            </a:pPr>
            <a:r>
              <a:rPr lang="nb-NO" noProof="0"/>
              <a:t>Helse</a:t>
            </a:r>
          </a:p>
          <a:p>
            <a:pPr marL="685800" lvl="1" indent="-228600">
              <a:buAutoNum type="arabicPeriod"/>
            </a:pPr>
            <a:r>
              <a:rPr lang="nb-NO" noProof="0"/>
              <a:t>Miljø</a:t>
            </a:r>
          </a:p>
          <a:p>
            <a:pPr marL="685800" lvl="1" indent="-228600">
              <a:buAutoNum type="arabicPeriod"/>
            </a:pPr>
            <a:r>
              <a:rPr lang="nb-NO" noProof="0"/>
              <a:t>Transport</a:t>
            </a:r>
          </a:p>
          <a:p>
            <a:pPr marL="228600" lvl="0" indent="-228600">
              <a:buAutoNum type="arabicPeriod"/>
            </a:pPr>
            <a:r>
              <a:rPr lang="nb-NO" noProof="0"/>
              <a:t>En felles overordnet datamodell som gir en logisk sammenheng mellom datagrunnlaget, og ikke minst: viser hvor det er overlapp eller mangler i felles nasjonale grunndata</a:t>
            </a:r>
          </a:p>
          <a:p>
            <a:pPr marL="228600" lvl="0" indent="-228600">
              <a:buAutoNum type="arabicPeriod"/>
            </a:pPr>
            <a:endParaRPr lang="nb-NO" noProof="0"/>
          </a:p>
          <a:p>
            <a:pPr marL="0" indent="0">
              <a:buFont typeface="Arial" panose="020B0604020202020204" pitchFamily="34" charset="0"/>
              <a:buNone/>
            </a:pPr>
            <a:r>
              <a:rPr lang="nb-NO" sz="1200" strike="noStrike" noProof="0"/>
              <a:t>3. For å eie og forvalte nasjonale grunndata, herunder datamodell og prosesser, og koordinere domene foreslår vi en chief data </a:t>
            </a:r>
            <a:r>
              <a:rPr lang="nb-NO" sz="1200" strike="noStrike" noProof="0" err="1"/>
              <a:t>officer</a:t>
            </a:r>
            <a:r>
              <a:rPr lang="nb-NO" sz="1200" strike="noStrike" noProof="0"/>
              <a:t> funksjon. Navnet er ikke viktig, det er bare en arbeidstittel.</a:t>
            </a:r>
          </a:p>
          <a:p>
            <a:pPr marL="0" indent="0">
              <a:buFont typeface="Arial" panose="020B0604020202020204" pitchFamily="34" charset="0"/>
              <a:buNone/>
            </a:pPr>
            <a:endParaRPr lang="nb-NO" sz="1200" strike="noStrike" noProof="0"/>
          </a:p>
          <a:p>
            <a:pPr marL="0" indent="0">
              <a:buFont typeface="Arial" panose="020B0604020202020204" pitchFamily="34" charset="0"/>
              <a:buNone/>
            </a:pPr>
            <a:r>
              <a:rPr lang="nb-NO" sz="1200" strike="noStrike" noProof="0"/>
              <a:t>4. Politisk styring er ikke så komplisert i teorien, sørge for politisk oppmerksomhet, og at ledere blir målt på data, og får midler som samsvarer med sitt ansvarsområde. Tungt i praksis</a:t>
            </a:r>
          </a:p>
          <a:p>
            <a:pPr marL="0" indent="0">
              <a:buFont typeface="+mj-lt"/>
              <a:buNone/>
            </a:pPr>
            <a:endParaRPr lang="nb-NO" noProof="0"/>
          </a:p>
          <a:p>
            <a:pPr marL="0" indent="0">
              <a:buFont typeface="+mj-lt"/>
              <a:buNone/>
            </a:pPr>
            <a:r>
              <a:rPr lang="nb-NO" noProof="0"/>
              <a:t>5. Vi trenger noen felles ensartede prosesser. Dette il gjøre livet til produsenter, tilbydere og konsumenter enklere: </a:t>
            </a:r>
            <a:r>
              <a:rPr lang="nb-NO" sz="1200" b="0" i="0" strike="noStrike">
                <a:solidFill>
                  <a:srgbClr val="000000"/>
                </a:solidFill>
                <a:effectLst/>
                <a:latin typeface="WordVisi_MSFontService"/>
              </a:rPr>
              <a:t>kan for eksempl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strike="noStrike"/>
              <a:t>Innmelding av nye behov</a:t>
            </a:r>
            <a:endParaRPr lang="nb-NO" sz="1200" b="0" i="0" strike="noStrike">
              <a:solidFill>
                <a:srgbClr val="000000"/>
              </a:solidFill>
              <a:effectLst/>
              <a:latin typeface="WordVisi_MSFontService"/>
            </a:endParaRPr>
          </a:p>
          <a:p>
            <a:pPr marL="285750" indent="-285750">
              <a:buFont typeface="Arial" panose="020B0604020202020204" pitchFamily="34" charset="0"/>
              <a:buChar char="•"/>
            </a:pPr>
            <a:r>
              <a:rPr lang="nb-NO" sz="1200" b="0" i="0" strike="noStrike" err="1">
                <a:solidFill>
                  <a:srgbClr val="000000"/>
                </a:solidFill>
                <a:effectLst/>
                <a:latin typeface="WordVisi_MSFontService"/>
              </a:rPr>
              <a:t>on</a:t>
            </a:r>
            <a:r>
              <a:rPr lang="nb-NO" sz="1200" b="0" i="0" strike="noStrike">
                <a:solidFill>
                  <a:srgbClr val="000000"/>
                </a:solidFill>
                <a:effectLst/>
                <a:latin typeface="WordVisi_MSFontService"/>
              </a:rPr>
              <a:t> </a:t>
            </a:r>
            <a:r>
              <a:rPr lang="nb-NO" sz="1200" b="0" i="0" strike="noStrike" err="1">
                <a:solidFill>
                  <a:srgbClr val="000000"/>
                </a:solidFill>
                <a:effectLst/>
                <a:latin typeface="WordVisi_MSFontService"/>
              </a:rPr>
              <a:t>boarding</a:t>
            </a:r>
            <a:r>
              <a:rPr lang="nb-NO" sz="1200" b="0" i="0" strike="noStrike">
                <a:solidFill>
                  <a:srgbClr val="000000"/>
                </a:solidFill>
                <a:effectLst/>
                <a:latin typeface="WordVisi_MSFontService"/>
              </a:rPr>
              <a:t> er rimelig likt og enkelt</a:t>
            </a:r>
          </a:p>
          <a:p>
            <a:pPr marL="285750" indent="-285750">
              <a:buFont typeface="Arial" panose="020B0604020202020204" pitchFamily="34" charset="0"/>
              <a:buChar char="•"/>
            </a:pPr>
            <a:r>
              <a:rPr lang="nb-NO" sz="1200" strike="noStrike"/>
              <a:t>data er dokumentert på en likeartet måte</a:t>
            </a:r>
          </a:p>
          <a:p>
            <a:pPr marL="285750" indent="-285750">
              <a:buFont typeface="Arial" panose="020B0604020202020204" pitchFamily="34" charset="0"/>
              <a:buChar char="•"/>
            </a:pPr>
            <a:r>
              <a:rPr lang="nb-NO" sz="1200" strike="noStrike"/>
              <a:t>tilbydere benytter like mønstre</a:t>
            </a:r>
          </a:p>
          <a:p>
            <a:pPr marL="285750" indent="-285750">
              <a:buFont typeface="Arial" panose="020B0604020202020204" pitchFamily="34" charset="0"/>
              <a:buChar char="•"/>
            </a:pPr>
            <a:r>
              <a:rPr lang="nb-NO" sz="1200" strike="noStrike" err="1"/>
              <a:t>APIer</a:t>
            </a:r>
            <a:r>
              <a:rPr lang="nb-NO" sz="1200" strike="noStrike"/>
              <a:t> (er utformet på en gjenkjennelig måte)</a:t>
            </a:r>
          </a:p>
          <a:p>
            <a:pPr marL="285750" indent="-285750">
              <a:buFont typeface="Arial" panose="020B0604020202020204" pitchFamily="34" charset="0"/>
              <a:buChar char="•"/>
            </a:pPr>
            <a:r>
              <a:rPr lang="nb-NO" sz="1200" strike="noStrike"/>
              <a:t>feilhåndtering er rimelig likt</a:t>
            </a:r>
          </a:p>
          <a:p>
            <a:pPr marL="285750" indent="-285750">
              <a:buFont typeface="Arial" panose="020B0604020202020204" pitchFamily="34" charset="0"/>
              <a:buChar char="•"/>
            </a:pPr>
            <a:endParaRPr lang="nb-NO" sz="1200" strike="noStrike" noProof="0"/>
          </a:p>
          <a:p>
            <a:pPr marL="0" indent="0">
              <a:buFont typeface="Arial" panose="020B0604020202020204" pitchFamily="34" charset="0"/>
              <a:buNone/>
            </a:pPr>
            <a:endParaRPr lang="nb-NO" sz="1200" strike="noStrike" noProof="0"/>
          </a:p>
          <a:p>
            <a:pPr marL="0" indent="0">
              <a:buFont typeface="Arial" panose="020B0604020202020204" pitchFamily="34" charset="0"/>
              <a:buNone/>
            </a:pPr>
            <a:r>
              <a:rPr lang="nb-NO" sz="1200" strike="noStrike" noProof="0"/>
              <a:t>6. Vi ser også at det må gjøres noe på det juridiske området. Vi foreslår ikke en ny lov i første omgang, men heller praktisk lovarbeid, for eksempel legaldefinisjoner, normering av roller osv. Dette tiltaksområdet må sees i lys av pågående arbeid i lovutvalg for helhetlig regulering av data og EU.</a:t>
            </a:r>
          </a:p>
          <a:p>
            <a:pPr marL="0" indent="0">
              <a:buFont typeface="Arial" panose="020B0604020202020204" pitchFamily="34" charset="0"/>
              <a:buNone/>
            </a:pPr>
            <a:endParaRPr lang="nb-NO" sz="1200" strike="noStrike" noProof="0"/>
          </a:p>
          <a:p>
            <a:pPr marL="0" indent="0">
              <a:buFont typeface="Arial" panose="020B0604020202020204" pitchFamily="34" charset="0"/>
              <a:buNone/>
            </a:pPr>
            <a:r>
              <a:rPr lang="nb-NO" sz="1200" strike="noStrike" noProof="0"/>
              <a:t>7. Det siste tiltaksområdet handler om å sikre at konsumentbehov og brukerkonsekvenser er det førende når vi skal utvikle området videre. I praksis handler dette tiltaket om å kommunisere bedre</a:t>
            </a:r>
            <a:endParaRPr lang="en-GB"/>
          </a:p>
          <a:p>
            <a:pPr marL="0" indent="0">
              <a:buNone/>
            </a:pPr>
            <a:endParaRPr lang="en-GB"/>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75D5A7-3C7E-42F9-83E8-2A839AE127A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2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55536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800">
                <a:effectLst/>
                <a:latin typeface="Arial" panose="020B0604020202020204" pitchFamily="34" charset="0"/>
                <a:ea typeface="Times New Roman" panose="02020603050405020304" pitchFamily="18" charset="0"/>
                <a:cs typeface="Arial" panose="020B0604020202020204" pitchFamily="34" charset="0"/>
              </a:rPr>
              <a:t>Tiltaksområde 1, 2 og 3 som er nærmere beskrevet under, utgjør kjernen i det som kan betegnes som et styringssystem. Som en del av styringssystemet og ved etablering av nasjonale grunndata må det blant annet utarbeides prosesser for utvidelse av nasjonale grunndata, oppnevning av nye roller, konflikthåndtering og kontrollmekanismer. Tiltaksområde 4 er nødvendig for at 1-3 skal få nødvendig kraft og autoritet til å skape endring, og vil utgjøre et fundament for arbeidet. Tiltaksområdene 5-7 er premisser og virkemidler ved etablering og drift av kjernetiltakene.</a:t>
            </a:r>
            <a:endParaRPr lang="nb-NO" sz="1800">
              <a:effectLst/>
              <a:latin typeface="Arial" panose="020B0604020202020204" pitchFamily="34" charset="0"/>
              <a:ea typeface="Times New Roman" panose="02020603050405020304" pitchFamily="18" charset="0"/>
              <a:cs typeface="Times New Roman" panose="02020603050405020304" pitchFamily="18" charset="0"/>
            </a:endParaRPr>
          </a:p>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0244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Alt er tentativt</a:t>
            </a:r>
          </a:p>
        </p:txBody>
      </p:sp>
      <p:sp>
        <p:nvSpPr>
          <p:cNvPr id="4" name="Plassholder for lysbildenummer 3"/>
          <p:cNvSpPr>
            <a:spLocks noGrp="1"/>
          </p:cNvSpPr>
          <p:nvPr>
            <p:ph type="sldNum" sz="quarter" idx="5"/>
          </p:nvPr>
        </p:nvSpPr>
        <p:spPr/>
        <p:txBody>
          <a:bodyPr/>
          <a:lstStyle/>
          <a:p>
            <a:fld id="{086F9ED1-62F6-40B6-A8A2-656DB81C8AB9}" type="slidenum">
              <a:rPr lang="nb-NO" smtClean="0"/>
              <a:t>24</a:t>
            </a:fld>
            <a:endParaRPr lang="nb-NO"/>
          </a:p>
        </p:txBody>
      </p:sp>
    </p:spTree>
    <p:extLst>
      <p:ext uri="{BB962C8B-B14F-4D97-AF65-F5344CB8AC3E}">
        <p14:creationId xmlns:p14="http://schemas.microsoft.com/office/powerpoint/2010/main" val="3632426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B67459-F8AE-4741-070C-D929E3DB1F8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5E54F53-29EF-56BA-A2A3-B34201364EAC}"/>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67B53D5D-3C00-B94D-913F-F2ACE85FBBDE}"/>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B44C1DE7-D401-9F3C-6799-F259A4181CB8}"/>
              </a:ext>
            </a:extLst>
          </p:cNvPr>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2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0403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1C4680-7BD6-1B8D-6526-55FA550B3ED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2AE4F92-A8E2-D1D3-C48E-295F63ED1F93}"/>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2980A3C8-4754-4FBB-57F0-7014D14085F5}"/>
              </a:ext>
            </a:extLst>
          </p:cNvPr>
          <p:cNvSpPr>
            <a:spLocks noGrp="1"/>
          </p:cNvSpPr>
          <p:nvPr>
            <p:ph type="body" idx="1"/>
          </p:nvPr>
        </p:nvSpPr>
        <p:spPr/>
        <p:txBody>
          <a:bodyPr/>
          <a:lstStyle/>
          <a:p>
            <a:r>
              <a:rPr lang="nb-NO" dirty="0"/>
              <a:t>Trafikverket = Transportsystem(domene)</a:t>
            </a:r>
          </a:p>
        </p:txBody>
      </p:sp>
      <p:sp>
        <p:nvSpPr>
          <p:cNvPr id="4" name="Plassholder for lysbildenummer 3">
            <a:extLst>
              <a:ext uri="{FF2B5EF4-FFF2-40B4-BE49-F238E27FC236}">
                <a16:creationId xmlns:a16="http://schemas.microsoft.com/office/drawing/2014/main" id="{EC263174-B03B-E01C-3116-FB1DDEA714DB}"/>
              </a:ext>
            </a:extLst>
          </p:cNvPr>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96A3130C-98B3-4287-B670-4F055D67C7D5}" type="slidenum">
              <a:rPr kumimoji="0" lang="nb-NO"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28</a:t>
            </a:fld>
            <a:endParaRPr kumimoji="0" lang="nb-NO"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93887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4E877-3A66-BF8B-7854-8F8CAF6592D1}"/>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BBF224D-F3D0-BC8A-C8F3-B7E888690A02}"/>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7E11A731-9354-6BE5-CD26-0B290B002B83}"/>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EAB2C69E-BA16-5CC5-AEAF-639D2A91BE2E}"/>
              </a:ext>
            </a:extLst>
          </p:cNvPr>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3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0484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CCBFD4-CB82-6CB0-B808-B7E867AF7B8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A82DAEF-A445-2774-AE22-EE6DCA9BD4A2}"/>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B8974EE0-3DB3-5ECD-42B6-35E448BFECD3}"/>
              </a:ext>
            </a:extLst>
          </p:cNvPr>
          <p:cNvSpPr>
            <a:spLocks noGrp="1"/>
          </p:cNvSpPr>
          <p:nvPr>
            <p:ph type="body" idx="1"/>
          </p:nvPr>
        </p:nvSpPr>
        <p:spPr/>
        <p:txBody>
          <a:bodyPr/>
          <a:lstStyle/>
          <a:p>
            <a:pPr marL="171450" indent="-171450">
              <a:buFont typeface="Arial" panose="020B0604020202020204" pitchFamily="34" charset="0"/>
              <a:buChar char="•"/>
            </a:pPr>
            <a:endParaRPr kumimoji="0" lang="nb-NO" sz="1200" b="0" i="0" u="none" strike="noStrike" kern="1200" cap="none" spc="0" normalizeH="0" baseline="0" noProof="0">
              <a:ln>
                <a:noFill/>
              </a:ln>
              <a:solidFill>
                <a:srgbClr val="1E2B3C"/>
              </a:solidFill>
              <a:effectLst/>
              <a:uLnTx/>
              <a:uFillTx/>
              <a:latin typeface="Arial" panose="020B0604020202020204"/>
              <a:ea typeface="+mn-ea"/>
              <a:cs typeface="+mn-cs"/>
            </a:endParaRPr>
          </a:p>
        </p:txBody>
      </p:sp>
      <p:sp>
        <p:nvSpPr>
          <p:cNvPr id="4" name="Plassholder for lysbildenummer 3">
            <a:extLst>
              <a:ext uri="{FF2B5EF4-FFF2-40B4-BE49-F238E27FC236}">
                <a16:creationId xmlns:a16="http://schemas.microsoft.com/office/drawing/2014/main" id="{0CC67A70-11FD-7796-57F7-2351AAB612A9}"/>
              </a:ext>
            </a:extLst>
          </p:cNvPr>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75D5A7-3C7E-42F9-83E8-2A839AE127A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5974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231179-FD42-4DE4-B743-21F75FE20A5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24940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nb-NO" sz="1800" b="1" dirty="0">
                <a:effectLst/>
                <a:latin typeface="Calibri" panose="020F0502020204030204" pitchFamily="34" charset="0"/>
                <a:ea typeface="Yu Mincho" panose="02020400000000000000" pitchFamily="18" charset="-128"/>
                <a:cs typeface="Arial" panose="020B0604020202020204" pitchFamily="34" charset="0"/>
              </a:rPr>
              <a:t>Beskrivelse:</a:t>
            </a:r>
          </a:p>
          <a:p>
            <a:pPr marL="0" marR="0" lvl="0" indent="0" algn="l" defTabSz="914400" rtl="0" eaLnBrk="1" fontAlgn="auto" latinLnBrk="0" hangingPunct="1">
              <a:lnSpc>
                <a:spcPct val="107000"/>
              </a:lnSpc>
              <a:spcBef>
                <a:spcPts val="0"/>
              </a:spcBef>
              <a:spcAft>
                <a:spcPts val="0"/>
              </a:spcAft>
              <a:buClrTx/>
              <a:buSzTx/>
              <a:buFont typeface="+mj-lt"/>
              <a:buNone/>
              <a:tabLst/>
              <a:defRPr/>
            </a:pPr>
            <a:endParaRPr lang="nb-NO" sz="1800" b="1" dirty="0">
              <a:effectLst/>
              <a:latin typeface="Calibri" panose="020F0502020204030204" pitchFamily="34" charset="0"/>
              <a:ea typeface="Yu Mincho" panose="02020400000000000000" pitchFamily="18" charset="-128"/>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 typeface="+mj-lt"/>
              <a:buNone/>
              <a:tabLst/>
              <a:defRPr/>
            </a:pPr>
            <a:r>
              <a:rPr lang="nb-NO" sz="1800" b="1" dirty="0">
                <a:effectLst/>
                <a:latin typeface="Calibri" panose="020F0502020204030204" pitchFamily="34" charset="0"/>
                <a:ea typeface="Yu Mincho" panose="02020400000000000000" pitchFamily="18" charset="-128"/>
                <a:cs typeface="Arial" panose="020B0604020202020204" pitchFamily="34" charset="0"/>
              </a:rPr>
              <a:t>Nasjonal grunndatakoordinator</a:t>
            </a:r>
          </a:p>
          <a:p>
            <a:pPr marL="0" marR="0" lvl="0" indent="0" algn="l" defTabSz="914400" rtl="0" eaLnBrk="1" fontAlgn="auto" latinLnBrk="0" hangingPunct="1">
              <a:lnSpc>
                <a:spcPct val="107000"/>
              </a:lnSpc>
              <a:spcBef>
                <a:spcPts val="0"/>
              </a:spcBef>
              <a:spcAft>
                <a:spcPts val="0"/>
              </a:spcAft>
              <a:buClrTx/>
              <a:buSzTx/>
              <a:buFont typeface="+mj-lt"/>
              <a:buNone/>
              <a:tabLst/>
              <a:defRPr/>
            </a:pPr>
            <a:r>
              <a:rPr lang="nb-NO" sz="1800" dirty="0">
                <a:effectLst/>
                <a:latin typeface="Calibri" panose="020F0502020204030204" pitchFamily="34" charset="0"/>
                <a:ea typeface="Yu Mincho" panose="02020400000000000000" pitchFamily="18" charset="-128"/>
                <a:cs typeface="Arial" panose="020B0604020202020204" pitchFamily="34" charset="0"/>
              </a:rPr>
              <a:t>Grunndatakoordinatoren er en sentral aktør som sitter på den totale oversikten over alle nasjonale grunndata, deres tilbydere, konsumenter samt pågående utviklingsinitiativer. Rollens hovedformål er å sikre enhetlig, stødig retning på utviklingen og forvaltningen av nasjonale grunndata. </a:t>
            </a:r>
          </a:p>
          <a:p>
            <a:pPr marL="0" lvl="0" indent="0">
              <a:lnSpc>
                <a:spcPct val="107000"/>
              </a:lnSpc>
              <a:buFont typeface="+mj-lt"/>
              <a:buNone/>
            </a:pPr>
            <a:endParaRPr lang="nb-NO" sz="1050" i="1" dirty="0">
              <a:effectLst/>
              <a:latin typeface="Calibri" panose="020F0502020204030204" pitchFamily="34" charset="0"/>
              <a:ea typeface="Yu Mincho" panose="02020400000000000000" pitchFamily="18" charset="-128"/>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 typeface="+mj-lt"/>
              <a:buNone/>
              <a:tabLst/>
              <a:defRPr/>
            </a:pPr>
            <a:r>
              <a:rPr lang="nb-NO" sz="105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Nasjonal grunndatakoordinator hovedansvar og oppgaver</a:t>
            </a:r>
          </a:p>
          <a:p>
            <a:pPr marL="0" lvl="0" indent="0">
              <a:lnSpc>
                <a:spcPct val="107000"/>
              </a:lnSpc>
              <a:buFont typeface="+mj-lt"/>
              <a:buNone/>
            </a:pPr>
            <a:endParaRPr lang="nb-NO" sz="1050" i="1" dirty="0">
              <a:effectLst/>
              <a:latin typeface="Calibri" panose="020F0502020204030204" pitchFamily="34" charset="0"/>
              <a:ea typeface="Yu Mincho" panose="02020400000000000000" pitchFamily="18" charset="-128"/>
              <a:cs typeface="Arial" panose="020B0604020202020204" pitchFamily="34" charset="0"/>
            </a:endParaRPr>
          </a:p>
          <a:p>
            <a:pPr marL="0" lvl="0" indent="0">
              <a:lnSpc>
                <a:spcPct val="107000"/>
              </a:lnSpc>
              <a:buFont typeface="+mj-lt"/>
              <a:buNone/>
            </a:pPr>
            <a:r>
              <a:rPr lang="nb-NO" sz="1050" i="1" dirty="0">
                <a:effectLst/>
                <a:latin typeface="Calibri" panose="020F0502020204030204" pitchFamily="34" charset="0"/>
                <a:ea typeface="Yu Mincho" panose="02020400000000000000" pitchFamily="18" charset="-128"/>
                <a:cs typeface="Arial" panose="020B0604020202020204" pitchFamily="34" charset="0"/>
              </a:rPr>
              <a:t>1. Ansvarlig for rammeverket:</a:t>
            </a:r>
            <a:endParaRPr lang="nb-NO" sz="105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Eier rammeverket, og utvikler og justerer det etter behov. Dette gjelder bl.a. prinsipper og kriterier for nasjonale grunndata, prosesser, rollefordeling og avtalemaler.</a:t>
            </a:r>
          </a:p>
          <a:p>
            <a:pPr marL="742950" lvl="1" indent="-285750">
              <a:lnSpc>
                <a:spcPct val="107000"/>
              </a:lnSpc>
              <a:buFont typeface="Symbol" panose="05050102010706020507" pitchFamily="18"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Fanger opp, og – der det er hensiktsmessig – inkorporerer krav fra kommende EU-regelverk.</a:t>
            </a:r>
          </a:p>
          <a:p>
            <a:pPr marL="742950" lvl="1" indent="-285750">
              <a:lnSpc>
                <a:spcPct val="107000"/>
              </a:lnSpc>
              <a:buFont typeface="Symbol" panose="05050102010706020507" pitchFamily="18"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Sørger for at rammeverket er lett å forstå for alle involverte.</a:t>
            </a:r>
          </a:p>
          <a:p>
            <a:pPr marL="914400">
              <a:lnSpc>
                <a:spcPct val="107000"/>
              </a:lnSpc>
            </a:pPr>
            <a:r>
              <a:rPr lang="nb-NO" sz="1050" dirty="0">
                <a:effectLst/>
                <a:latin typeface="Calibri" panose="020F0502020204030204" pitchFamily="34" charset="0"/>
                <a:ea typeface="Yu Mincho" panose="02020400000000000000" pitchFamily="18" charset="-128"/>
                <a:cs typeface="Arial" panose="020B0604020202020204" pitchFamily="34" charset="0"/>
              </a:rPr>
              <a:t> </a:t>
            </a:r>
          </a:p>
          <a:p>
            <a:pPr marL="0" lvl="0" indent="0">
              <a:lnSpc>
                <a:spcPct val="107000"/>
              </a:lnSpc>
              <a:buFont typeface="+mj-lt"/>
              <a:buNone/>
            </a:pPr>
            <a:r>
              <a:rPr lang="nb-NO" sz="1050" i="1" dirty="0">
                <a:effectLst/>
                <a:latin typeface="Calibri" panose="020F0502020204030204" pitchFamily="34" charset="0"/>
                <a:ea typeface="Yu Mincho" panose="02020400000000000000" pitchFamily="18" charset="-128"/>
                <a:cs typeface="Arial" panose="020B0604020202020204" pitchFamily="34" charset="0"/>
              </a:rPr>
              <a:t>2. Ansvarlig for nasjonal grunndataoversikt:</a:t>
            </a:r>
            <a:endParaRPr lang="nb-NO" sz="105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Utvikle og etablere grunndataoversikten med utgangspunkt i dagens fellesløsninger.</a:t>
            </a:r>
          </a:p>
          <a:p>
            <a:pPr marL="742950" lvl="1" indent="-285750">
              <a:lnSpc>
                <a:spcPct val="107000"/>
              </a:lnSpc>
              <a:buFont typeface="Symbol" panose="05050102010706020507" pitchFamily="18"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Sørge for å ha løpende oversikt over alle data som har blitt godkjent som nasjonale grunndata, samt kandidater til vurdering. </a:t>
            </a:r>
          </a:p>
          <a:p>
            <a:pPr marL="742950" lvl="1" indent="-285750">
              <a:lnSpc>
                <a:spcPct val="107000"/>
              </a:lnSpc>
              <a:buFont typeface="Symbol" panose="05050102010706020507" pitchFamily="18"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Sørge for at oversikten er et kommuniserende verktøy som tydelig viser</a:t>
            </a:r>
          </a:p>
          <a:p>
            <a:pPr marL="1143000" lvl="2" indent="-228600">
              <a:lnSpc>
                <a:spcPct val="107000"/>
              </a:lnSpc>
              <a:buFont typeface="Wingdings" panose="05000000000000000000" pitchFamily="2"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logiske sammenhenger og mulige koblinger mellom grunndata</a:t>
            </a:r>
            <a:endParaRPr lang="nb-NO" sz="1050" b="1" dirty="0">
              <a:effectLst/>
              <a:latin typeface="Calibri" panose="020F0502020204030204" pitchFamily="34" charset="0"/>
              <a:ea typeface="Yu Mincho" panose="02020400000000000000" pitchFamily="18" charset="-128"/>
              <a:cs typeface="Arial" panose="020B0604020202020204" pitchFamily="34" charset="0"/>
            </a:endParaRPr>
          </a:p>
          <a:p>
            <a:pPr marL="1143000" lvl="2" indent="-228600">
              <a:lnSpc>
                <a:spcPct val="107000"/>
              </a:lnSpc>
              <a:buFont typeface="Wingdings" panose="05000000000000000000" pitchFamily="2"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synliggjør overlapp i data</a:t>
            </a:r>
          </a:p>
          <a:p>
            <a:pPr marL="1143000" lvl="2" indent="-228600">
              <a:lnSpc>
                <a:spcPct val="107000"/>
              </a:lnSpc>
              <a:buFont typeface="Wingdings" panose="05000000000000000000" pitchFamily="2"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synliggjør manglende data</a:t>
            </a:r>
          </a:p>
          <a:p>
            <a:pPr marL="1143000" lvl="2" indent="-228600">
              <a:lnSpc>
                <a:spcPct val="107000"/>
              </a:lnSpc>
              <a:buFont typeface="Wingdings" panose="05000000000000000000" pitchFamily="2"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tydeliggjør ansvar og manglende ansvar for data</a:t>
            </a:r>
          </a:p>
          <a:p>
            <a:pPr marL="1143000" lvl="2" indent="-228600">
              <a:lnSpc>
                <a:spcPct val="107000"/>
              </a:lnSpc>
              <a:buFont typeface="Wingdings" panose="05000000000000000000" pitchFamily="2" charset="2"/>
              <a:buChar char=""/>
            </a:pPr>
            <a:r>
              <a:rPr lang="nb-NO" sz="1050" b="0" dirty="0">
                <a:effectLst/>
                <a:latin typeface="Calibri" panose="020F0502020204030204" pitchFamily="34" charset="0"/>
                <a:ea typeface="Yu Mincho" panose="02020400000000000000" pitchFamily="18" charset="-128"/>
                <a:cs typeface="Arial" panose="020B0604020202020204" pitchFamily="34" charset="0"/>
              </a:rPr>
              <a:t>identifiserer behov for begrepsavklaringer</a:t>
            </a:r>
          </a:p>
          <a:p>
            <a:pPr marL="1371600">
              <a:lnSpc>
                <a:spcPct val="107000"/>
              </a:lnSpc>
            </a:pPr>
            <a:r>
              <a:rPr lang="nb-NO" sz="1050" dirty="0">
                <a:effectLst/>
                <a:latin typeface="Calibri" panose="020F0502020204030204" pitchFamily="34" charset="0"/>
                <a:ea typeface="Yu Mincho" panose="02020400000000000000" pitchFamily="18" charset="-128"/>
                <a:cs typeface="Arial" panose="020B0604020202020204" pitchFamily="34" charset="0"/>
              </a:rPr>
              <a:t> </a:t>
            </a:r>
          </a:p>
          <a:p>
            <a:pPr marL="0" lvl="0" indent="0">
              <a:lnSpc>
                <a:spcPct val="107000"/>
              </a:lnSpc>
              <a:buFont typeface="+mj-lt"/>
              <a:buNone/>
            </a:pPr>
            <a:r>
              <a:rPr lang="nb-NO" sz="1050" i="1" dirty="0">
                <a:effectLst/>
                <a:latin typeface="Calibri" panose="020F0502020204030204" pitchFamily="34" charset="0"/>
                <a:ea typeface="Yu Mincho" panose="02020400000000000000" pitchFamily="18" charset="-128"/>
                <a:cs typeface="Arial" panose="020B0604020202020204" pitchFamily="34" charset="0"/>
              </a:rPr>
              <a:t>3. Ansvarlig for å holde oversikt over og dokumentere behov for nasjonale grunndata i forvaltningen:</a:t>
            </a:r>
            <a:endParaRPr lang="nb-NO" sz="105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Vedlikeholde liste over behov, enten innmeldte eller identifisert av grunndatakoordinatoren selv ved hjelp av grunndataoversikten.</a:t>
            </a:r>
          </a:p>
          <a:p>
            <a:pPr marL="742950" lvl="1" indent="-285750">
              <a:lnSpc>
                <a:spcPct val="107000"/>
              </a:lnSpc>
              <a:buFont typeface="Symbol" panose="05050102010706020507" pitchFamily="18" charset="2"/>
              <a:buChar char=""/>
            </a:pPr>
            <a:r>
              <a:rPr lang="nb-NO" sz="1050" dirty="0" err="1">
                <a:effectLst/>
                <a:latin typeface="Calibri" panose="020F0502020204030204" pitchFamily="34" charset="0"/>
                <a:ea typeface="Yu Mincho" panose="02020400000000000000" pitchFamily="18" charset="-128"/>
                <a:cs typeface="Arial" panose="020B0604020202020204" pitchFamily="34" charset="0"/>
              </a:rPr>
              <a:t>Fasiliterer</a:t>
            </a:r>
            <a:r>
              <a:rPr lang="nb-NO" sz="1050" dirty="0">
                <a:effectLst/>
                <a:latin typeface="Calibri" panose="020F0502020204030204" pitchFamily="34" charset="0"/>
                <a:ea typeface="Yu Mincho" panose="02020400000000000000" pitchFamily="18" charset="-128"/>
                <a:cs typeface="Arial" panose="020B0604020202020204" pitchFamily="34" charset="0"/>
              </a:rPr>
              <a:t> dokumentering av effekt og samfunnsgevinst som følge av bruk av grunndata.</a:t>
            </a:r>
          </a:p>
          <a:p>
            <a:pPr marL="742950" lvl="1" indent="-285750">
              <a:lnSpc>
                <a:spcPct val="107000"/>
              </a:lnSpc>
              <a:buFont typeface="Symbol" panose="05050102010706020507" pitchFamily="18"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Driver fram forståelse av verdien av nasjonale grunndata og gevinster ved å ha en helhetlig styring av nasjonale grunndata</a:t>
            </a:r>
          </a:p>
          <a:p>
            <a:pPr marL="914400">
              <a:lnSpc>
                <a:spcPct val="107000"/>
              </a:lnSpc>
            </a:pPr>
            <a:r>
              <a:rPr lang="nb-NO" sz="1050" dirty="0">
                <a:effectLst/>
                <a:latin typeface="Calibri" panose="020F0502020204030204" pitchFamily="34" charset="0"/>
                <a:ea typeface="Yu Mincho" panose="02020400000000000000" pitchFamily="18" charset="-128"/>
                <a:cs typeface="Arial" panose="020B0604020202020204" pitchFamily="34" charset="0"/>
              </a:rPr>
              <a:t> </a:t>
            </a:r>
          </a:p>
          <a:p>
            <a:pPr marL="0" lvl="0" indent="0">
              <a:lnSpc>
                <a:spcPct val="107000"/>
              </a:lnSpc>
              <a:buFont typeface="+mj-lt"/>
              <a:buNone/>
            </a:pPr>
            <a:r>
              <a:rPr lang="nb-NO" sz="1050" i="1" dirty="0">
                <a:effectLst/>
                <a:latin typeface="Calibri" panose="020F0502020204030204" pitchFamily="34" charset="0"/>
                <a:ea typeface="Yu Mincho" panose="02020400000000000000" pitchFamily="18" charset="-128"/>
                <a:cs typeface="Arial" panose="020B0604020202020204" pitchFamily="34" charset="0"/>
              </a:rPr>
              <a:t>4. Ansvarlig for å koordinere og </a:t>
            </a:r>
            <a:r>
              <a:rPr lang="nb-NO" sz="1050" i="1" dirty="0" err="1">
                <a:effectLst/>
                <a:latin typeface="Calibri" panose="020F0502020204030204" pitchFamily="34" charset="0"/>
                <a:ea typeface="Yu Mincho" panose="02020400000000000000" pitchFamily="18" charset="-128"/>
                <a:cs typeface="Arial" panose="020B0604020202020204" pitchFamily="34" charset="0"/>
              </a:rPr>
              <a:t>fasilitere</a:t>
            </a:r>
            <a:r>
              <a:rPr lang="nb-NO" sz="1050" i="1" dirty="0">
                <a:effectLst/>
                <a:latin typeface="Calibri" panose="020F0502020204030204" pitchFamily="34" charset="0"/>
                <a:ea typeface="Yu Mincho" panose="02020400000000000000" pitchFamily="18" charset="-128"/>
                <a:cs typeface="Arial" panose="020B0604020202020204" pitchFamily="34" charset="0"/>
              </a:rPr>
              <a:t> utviklingen av nasjonale grunndata:</a:t>
            </a:r>
            <a:endParaRPr lang="nb-NO" sz="105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spcAft>
                <a:spcPts val="800"/>
              </a:spcAft>
              <a:buFont typeface="Symbol" panose="05050102010706020507" pitchFamily="18" charset="2"/>
              <a:buChar char=""/>
            </a:pPr>
            <a:r>
              <a:rPr lang="nb-NO" sz="1050" dirty="0">
                <a:effectLst/>
                <a:latin typeface="Calibri" panose="020F0502020204030204" pitchFamily="34" charset="0"/>
                <a:ea typeface="Yu Mincho" panose="02020400000000000000" pitchFamily="18" charset="-128"/>
                <a:cs typeface="Arial" panose="020B0604020202020204" pitchFamily="34" charset="0"/>
              </a:rPr>
              <a:t>Koordinerer arbeidet med å omsette behov til handling og utviklingstiltak. I dette ligger å se sammenhenger, knytte sammen relevante aktører og forankre behov for innsats. </a:t>
            </a:r>
          </a:p>
          <a:p>
            <a:endParaRPr lang="nb-NO" sz="1050" dirty="0">
              <a:solidFill>
                <a:srgbClr val="1E3145"/>
              </a:solidFill>
              <a:effectLst/>
              <a:latin typeface="Arial" panose="020B0604020202020204" pitchFamily="34" charset="0"/>
              <a:ea typeface="Calibri" panose="020F0502020204030204" pitchFamily="34" charset="0"/>
              <a:cs typeface="Arial" panose="020B0604020202020204" pitchFamily="34" charset="0"/>
            </a:endParaRPr>
          </a:p>
          <a:p>
            <a:pPr>
              <a:spcBef>
                <a:spcPts val="200"/>
              </a:spcBef>
            </a:pPr>
            <a:r>
              <a:rPr lang="nb-NO" sz="11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Sammensetning og kompetanse</a:t>
            </a:r>
          </a:p>
          <a:p>
            <a:pPr>
              <a:lnSpc>
                <a:spcPct val="107000"/>
              </a:lnSpc>
            </a:pPr>
            <a:r>
              <a:rPr lang="nb-NO" sz="1050" dirty="0">
                <a:solidFill>
                  <a:srgbClr val="1E3145"/>
                </a:solidFill>
                <a:effectLst/>
                <a:latin typeface="Arial" panose="020B0604020202020204" pitchFamily="34" charset="0"/>
                <a:ea typeface="Calibri" panose="020F0502020204030204" pitchFamily="34" charset="0"/>
                <a:cs typeface="Arial" panose="020B0604020202020204" pitchFamily="34" charset="0"/>
              </a:rPr>
              <a:t>Nasjonal grunndatakoordinator må være et miljø eller være tilknyttet et miljø med tverrfaglig kompetanse. Rollen bør jobbe sammen med en tilknyttet koordineringsgruppe bestående av representanter fra minimum grunndataforvaltere, ideelt representanter fra ulike sektorer og forvaltningsnivå.</a:t>
            </a:r>
          </a:p>
          <a:p>
            <a:pPr>
              <a:lnSpc>
                <a:spcPct val="107000"/>
              </a:lnSpc>
            </a:pPr>
            <a:endParaRPr lang="nb-NO" sz="1050" dirty="0">
              <a:solidFill>
                <a:srgbClr val="1E3145"/>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nb-NO" sz="105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Samspill med andre aktører i rammeverket</a:t>
            </a:r>
          </a:p>
          <a:p>
            <a:pPr marL="0" marR="0" lvl="0" indent="0" algn="l" defTabSz="914400" rtl="0" eaLnBrk="1" fontAlgn="auto" latinLnBrk="0" hangingPunct="1">
              <a:lnSpc>
                <a:spcPct val="107000"/>
              </a:lnSpc>
              <a:spcBef>
                <a:spcPts val="0"/>
              </a:spcBef>
              <a:spcAft>
                <a:spcPts val="0"/>
              </a:spcAft>
              <a:buClrTx/>
              <a:buSzTx/>
              <a:buFontTx/>
              <a:buNone/>
              <a:tabLst/>
              <a:defRPr/>
            </a:pPr>
            <a:endParaRPr lang="nb-NO" sz="105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nb-NO" sz="105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Nasjonalt prioriteringsråd for data</a:t>
            </a:r>
          </a:p>
          <a:p>
            <a:pPr marL="0" marR="0" lvl="0" indent="0" algn="l" defTabSz="914400" rtl="0" eaLnBrk="1" fontAlgn="auto" latinLnBrk="0" hangingPunct="1">
              <a:lnSpc>
                <a:spcPct val="107000"/>
              </a:lnSpc>
              <a:spcBef>
                <a:spcPts val="0"/>
              </a:spcBef>
              <a:spcAft>
                <a:spcPts val="0"/>
              </a:spcAft>
              <a:buClrTx/>
              <a:buSzTx/>
              <a:buFontTx/>
              <a:buNone/>
              <a:tabLst/>
              <a:defRPr/>
            </a:pPr>
            <a:r>
              <a:rPr lang="nb-NO" sz="1050" b="0"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Prioriteringsrådets mandata er ikke avklart og det er vanskelig å være konkret utover at det må diskuteres med Digitaliserings- og forvaltningsdepartementet. Fra et Nasjonale grunndata-perspektiv kan prioriteringsrådet fungere som et mulig styrende </a:t>
            </a:r>
            <a:r>
              <a:rPr lang="nb-NO" sz="1050" b="0" dirty="0" err="1">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organg</a:t>
            </a:r>
            <a:r>
              <a:rPr lang="nb-NO" sz="1050" b="0"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0"/>
              </a:spcAft>
              <a:buClrTx/>
              <a:buSzTx/>
              <a:buFontTx/>
              <a:buNone/>
              <a:tabLst/>
              <a:defRPr/>
            </a:pPr>
            <a:endParaRPr lang="nb-NO" sz="105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endParaRPr>
          </a:p>
          <a:p>
            <a:r>
              <a:rPr lang="nb-NO" sz="1800" b="1" dirty="0" err="1">
                <a:solidFill>
                  <a:srgbClr val="1E2B3C"/>
                </a:solidFill>
                <a:effectLst/>
                <a:latin typeface="Arial" panose="020B0604020202020204" pitchFamily="34" charset="0"/>
                <a:ea typeface="Times New Roman" panose="02020603050405020304" pitchFamily="18" charset="0"/>
                <a:cs typeface="Arial" panose="020B0604020202020204" pitchFamily="34" charset="0"/>
              </a:rPr>
              <a:t>Competent</a:t>
            </a:r>
            <a:r>
              <a:rPr lang="nb-NO" sz="1800" b="1"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 Body</a:t>
            </a:r>
            <a:endParaRPr lang="nb-NO" sz="1800" dirty="0">
              <a:solidFill>
                <a:srgbClr val="1E2B3C"/>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Det er vanskelig å være konkret om forholdet mellom </a:t>
            </a:r>
            <a:r>
              <a:rPr lang="nb-NO" sz="1800" dirty="0" err="1">
                <a:solidFill>
                  <a:srgbClr val="1E2B3C"/>
                </a:solidFill>
                <a:effectLst/>
                <a:latin typeface="Arial" panose="020B0604020202020204" pitchFamily="34" charset="0"/>
                <a:ea typeface="Times New Roman" panose="02020603050405020304" pitchFamily="18" charset="0"/>
                <a:cs typeface="Arial" panose="020B0604020202020204" pitchFamily="34" charset="0"/>
              </a:rPr>
              <a:t>Competent</a:t>
            </a:r>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 body (CB) og nasjonal grunndatakoordinator (NGK) fordi ingen av dem er implementert. Sannsynligvis vil rollene overlappe og komplimentere hverandre både i tilnærming og oppgaver.</a:t>
            </a:r>
            <a:endParaRPr lang="nb-NO" sz="1800" dirty="0">
              <a:solidFill>
                <a:srgbClr val="1E2B3C"/>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 </a:t>
            </a:r>
            <a:endParaRPr lang="nb-NO" sz="1800" dirty="0">
              <a:solidFill>
                <a:srgbClr val="1E2B3C"/>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CB og NGK har til dels ulike nedslagsfelt, særlig fordi CB har som overordnet oppgave å hjelpe offentlige virksomheter å dele beskyttende data. NGK har til motsetning som overordnet oppgave å tilrettelegge for effektiv samhandling om data ved å forvalte rammeverk og utvikle nasjonale grunndata etter behov, med offentlig sektor som hovedprioritet (i første omgang). Rollene vil likevel kunne stå ovenfor de samme juridiske og tekniske utfordringene, og vil sannsynligvis trenge flere av de samme prosessene. Å se rollene i sammenheng kan likevel være en fordel fordi: </a:t>
            </a:r>
            <a:endParaRPr lang="nb-NO" sz="1800" dirty="0">
              <a:solidFill>
                <a:srgbClr val="1E2B3C"/>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 </a:t>
            </a:r>
            <a:endParaRPr lang="nb-NO" sz="1800" dirty="0">
              <a:solidFill>
                <a:srgbClr val="1E2B3C"/>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buFont typeface="Symbol" panose="05050102010706020507" pitchFamily="18" charset="2"/>
              <a:buChar char=""/>
            </a:pPr>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Gjenbruk av standardisering og normering (begrepsapparat, roller, retningslinjer, prosesser og </a:t>
            </a:r>
            <a:r>
              <a:rPr lang="nb-NO" sz="1800" dirty="0" err="1">
                <a:solidFill>
                  <a:srgbClr val="1E2B3C"/>
                </a:solidFill>
                <a:effectLst/>
                <a:latin typeface="Arial" panose="020B0604020202020204" pitchFamily="34" charset="0"/>
                <a:ea typeface="Times New Roman" panose="02020603050405020304" pitchFamily="18" charset="0"/>
                <a:cs typeface="Arial" panose="020B0604020202020204" pitchFamily="34" charset="0"/>
              </a:rPr>
              <a:t>malverk</a:t>
            </a:r>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a:t>
            </a:r>
            <a:endParaRPr lang="nb-NO" sz="1800" dirty="0">
              <a:solidFill>
                <a:srgbClr val="1E2B3C"/>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buFont typeface="Symbol" panose="05050102010706020507" pitchFamily="18" charset="2"/>
              <a:buChar char=""/>
            </a:pPr>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Se behov fra ulike sektorer sammen</a:t>
            </a:r>
            <a:endParaRPr lang="nb-NO" sz="1800" dirty="0">
              <a:solidFill>
                <a:srgbClr val="1E2B3C"/>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buFont typeface="Symbol" panose="05050102010706020507" pitchFamily="18" charset="2"/>
              <a:buChar char=""/>
            </a:pPr>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Gjenbruk av kompetanse (ressurseffektivitet)</a:t>
            </a:r>
            <a:endParaRPr lang="nb-NO" sz="1800" dirty="0">
              <a:solidFill>
                <a:srgbClr val="1E2B3C"/>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buFont typeface="Symbol" panose="05050102010706020507" pitchFamily="18" charset="2"/>
              <a:buChar char=""/>
            </a:pPr>
            <a:r>
              <a:rPr lang="nb-NO" sz="1800" dirty="0">
                <a:solidFill>
                  <a:srgbClr val="1E2B3C"/>
                </a:solidFill>
                <a:effectLst/>
                <a:latin typeface="Arial" panose="020B0604020202020204" pitchFamily="34" charset="0"/>
                <a:ea typeface="Times New Roman" panose="02020603050405020304" pitchFamily="18" charset="0"/>
                <a:cs typeface="Arial" panose="020B0604020202020204" pitchFamily="34" charset="0"/>
              </a:rPr>
              <a:t>Enklere koordinering og bedre mulighet for en felles forankret posisjon på tvers av samfunnet med sikte på samordning (eventuelt påvirkning) mot EU </a:t>
            </a:r>
            <a:endParaRPr lang="nb-NO" sz="1800" dirty="0">
              <a:solidFill>
                <a:srgbClr val="1E2B3C"/>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231179-FD42-4DE4-B743-21F75FE20A5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6688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1" dirty="0">
                <a:solidFill>
                  <a:srgbClr val="1E3145"/>
                </a:solidFill>
                <a:effectLst/>
                <a:latin typeface="Arial" panose="020B0604020202020204" pitchFamily="34" charset="0"/>
                <a:ea typeface="Yu Gothic Light" panose="020B0300000000000000" pitchFamily="34" charset="-128"/>
                <a:cs typeface="Arial" panose="020B0604020202020204" pitchFamily="34" charset="0"/>
              </a:rPr>
              <a:t>Beskrivelse:</a:t>
            </a:r>
          </a:p>
          <a:p>
            <a:endParaRPr lang="nb-NO" sz="1800" b="1" dirty="0">
              <a:solidFill>
                <a:srgbClr val="1E3145"/>
              </a:solidFill>
              <a:effectLst/>
              <a:latin typeface="Arial" panose="020B0604020202020204" pitchFamily="34" charset="0"/>
              <a:ea typeface="Yu Gothic Light" panose="020B0300000000000000" pitchFamily="34" charset="-128"/>
              <a:cs typeface="Arial" panose="020B0604020202020204" pitchFamily="34" charset="0"/>
            </a:endParaRPr>
          </a:p>
          <a:p>
            <a:r>
              <a:rPr lang="nb-NO" sz="1800" b="1" dirty="0">
                <a:solidFill>
                  <a:srgbClr val="1E3145"/>
                </a:solidFill>
                <a:effectLst/>
                <a:latin typeface="Arial" panose="020B0604020202020204" pitchFamily="34" charset="0"/>
                <a:ea typeface="Yu Gothic Light" panose="020B0300000000000000" pitchFamily="34" charset="-128"/>
                <a:cs typeface="Arial" panose="020B0604020202020204" pitchFamily="34" charset="0"/>
              </a:rPr>
              <a:t>Nasjonal grunndataforvalter</a:t>
            </a:r>
          </a:p>
          <a:p>
            <a:r>
              <a:rPr lang="nb-NO" sz="1800" dirty="0">
                <a:solidFill>
                  <a:srgbClr val="1E3145"/>
                </a:solidFill>
                <a:effectLst/>
                <a:latin typeface="Arial" panose="020B0604020202020204" pitchFamily="34" charset="0"/>
                <a:ea typeface="Yu Gothic Light" panose="020B0300000000000000" pitchFamily="34" charset="-128"/>
                <a:cs typeface="Arial" panose="020B0604020202020204" pitchFamily="34" charset="0"/>
              </a:rPr>
              <a:t>Grunndataforvalteren er virksomheten som eier de nasjonale grunndataene, (eksempelvis er Skatteetaten grunndataforvalter for grunndataene i folkeregisteret) Grunndataforvalteren er den aktøren som sitter nærmest dataene og har mest kunnskap om f.eks. dataenes kvalitet, bruk, driftsrutiner og tekniske aspekter</a:t>
            </a:r>
          </a:p>
          <a:p>
            <a:endParaRPr lang="nb-NO" sz="1800" dirty="0">
              <a:solidFill>
                <a:srgbClr val="1E3145"/>
              </a:solidFill>
              <a:effectLst/>
              <a:latin typeface="Arial" panose="020B0604020202020204" pitchFamily="34" charset="0"/>
              <a:ea typeface="Calibri" panose="020F0502020204030204" pitchFamily="34" charset="0"/>
              <a:cs typeface="Arial" panose="020B0604020202020204" pitchFamily="34" charset="0"/>
            </a:endParaRPr>
          </a:p>
          <a:p>
            <a:pPr>
              <a:spcBef>
                <a:spcPts val="200"/>
              </a:spcBef>
            </a:pPr>
            <a:r>
              <a:rPr lang="en-US" sz="1800" b="1" dirty="0" err="1">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Grunndataforvalters</a:t>
            </a:r>
            <a:r>
              <a:rPr lang="en-US"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 </a:t>
            </a:r>
            <a:r>
              <a:rPr lang="en-US" sz="1800" b="1" dirty="0" err="1">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hovedansvar</a:t>
            </a:r>
            <a:r>
              <a:rPr lang="en-US"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 og </a:t>
            </a:r>
            <a:r>
              <a:rPr lang="en-US" sz="1800" b="1" dirty="0" err="1">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oppgaver</a:t>
            </a:r>
            <a:endParaRPr lang="nb-NO"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endParaRPr>
          </a:p>
          <a:p>
            <a:pPr marL="342900" lvl="0" indent="-342900">
              <a:lnSpc>
                <a:spcPct val="115000"/>
              </a:lnSpc>
              <a:spcAft>
                <a:spcPts val="800"/>
              </a:spcAft>
              <a:buFont typeface="+mj-lt"/>
              <a:buAutoNum type="arabicPeriod"/>
            </a:pPr>
            <a:r>
              <a:rPr lang="nb-NO" sz="1800" dirty="0">
                <a:solidFill>
                  <a:srgbClr val="1E3145"/>
                </a:solidFill>
                <a:effectLst/>
                <a:latin typeface="Arial" panose="020B0604020202020204" pitchFamily="34" charset="0"/>
                <a:ea typeface="Yu Gothic Light" panose="020B0300000000000000" pitchFamily="34" charset="-128"/>
                <a:cs typeface="Arial" panose="020B0604020202020204" pitchFamily="34" charset="0"/>
              </a:rPr>
              <a:t>Imøtekomme krav til dataforvaltning, kvalitet og tilgjengelighet som skissert i avtaler</a:t>
            </a:r>
            <a:endParaRPr lang="nb-NO" sz="1800" dirty="0">
              <a:solidFill>
                <a:srgbClr val="1E3145"/>
              </a:solidFill>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Aft>
                <a:spcPts val="800"/>
              </a:spcAft>
              <a:buFont typeface="+mj-lt"/>
              <a:buAutoNum type="arabicPeriod"/>
            </a:pPr>
            <a:r>
              <a:rPr lang="nb-NO" sz="1800" dirty="0">
                <a:solidFill>
                  <a:srgbClr val="1E3145"/>
                </a:solidFill>
                <a:effectLst/>
                <a:latin typeface="Arial" panose="020B0604020202020204" pitchFamily="34" charset="0"/>
                <a:ea typeface="Yu Gothic Light" panose="020B0300000000000000" pitchFamily="34" charset="-128"/>
                <a:cs typeface="Arial" panose="020B0604020202020204" pitchFamily="34" charset="0"/>
              </a:rPr>
              <a:t>Sikre at forvaltningen av data følger prinsipper og prosesser som beskrevet i rammeverket</a:t>
            </a:r>
            <a:endParaRPr lang="nb-NO" sz="1800" dirty="0">
              <a:solidFill>
                <a:srgbClr val="1E3145"/>
              </a:solidFill>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Aft>
                <a:spcPts val="800"/>
              </a:spcAft>
              <a:buFont typeface="+mj-lt"/>
              <a:buAutoNum type="arabicPeriod"/>
            </a:pPr>
            <a:r>
              <a:rPr lang="nb-NO" sz="1800" dirty="0">
                <a:solidFill>
                  <a:srgbClr val="1E3145"/>
                </a:solidFill>
                <a:effectLst/>
                <a:latin typeface="Arial" panose="020B0604020202020204" pitchFamily="34" charset="0"/>
                <a:ea typeface="Yu Gothic Light" panose="020B0300000000000000" pitchFamily="34" charset="-128"/>
                <a:cs typeface="Arial" panose="020B0604020202020204" pitchFamily="34" charset="0"/>
              </a:rPr>
              <a:t>Kontinuerlig identifisere konsumenters behov</a:t>
            </a:r>
            <a:endParaRPr lang="nb-NO" sz="1800" dirty="0">
              <a:solidFill>
                <a:srgbClr val="1E3145"/>
              </a:solidFill>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Aft>
                <a:spcPts val="800"/>
              </a:spcAft>
              <a:buFont typeface="+mj-lt"/>
              <a:buAutoNum type="arabicPeriod"/>
            </a:pPr>
            <a:r>
              <a:rPr lang="nb-NO" sz="1800" dirty="0">
                <a:solidFill>
                  <a:srgbClr val="1E3145"/>
                </a:solidFill>
                <a:effectLst/>
                <a:latin typeface="Arial" panose="020B0604020202020204" pitchFamily="34" charset="0"/>
                <a:ea typeface="Yu Gothic Light" panose="020B0300000000000000" pitchFamily="34" charset="-128"/>
                <a:cs typeface="Arial" panose="020B0604020202020204" pitchFamily="34" charset="0"/>
              </a:rPr>
              <a:t>Utforske domener</a:t>
            </a:r>
            <a:endParaRPr lang="nb-NO" sz="1800" dirty="0">
              <a:solidFill>
                <a:srgbClr val="1E3145"/>
              </a:solidFill>
              <a:effectLst/>
              <a:latin typeface="Arial" panose="020B0604020202020204" pitchFamily="34" charset="0"/>
              <a:ea typeface="Calibri" panose="020F0502020204030204" pitchFamily="34" charset="0"/>
              <a:cs typeface="Arial" panose="020B0604020202020204" pitchFamily="34" charset="0"/>
            </a:endParaRPr>
          </a:p>
          <a:p>
            <a:pPr marL="342900" lvl="0" indent="-342900">
              <a:lnSpc>
                <a:spcPct val="115000"/>
              </a:lnSpc>
              <a:spcAft>
                <a:spcPts val="800"/>
              </a:spcAft>
              <a:buFont typeface="+mj-lt"/>
              <a:buAutoNum type="arabicPeriod"/>
            </a:pPr>
            <a:r>
              <a:rPr lang="nb-NO" sz="1800" dirty="0">
                <a:solidFill>
                  <a:srgbClr val="1E3145"/>
                </a:solidFill>
                <a:effectLst/>
                <a:latin typeface="Arial" panose="020B0604020202020204" pitchFamily="34" charset="0"/>
                <a:ea typeface="Yu Gothic Light" panose="020B0300000000000000" pitchFamily="34" charset="-128"/>
                <a:cs typeface="Arial" panose="020B0604020202020204" pitchFamily="34" charset="0"/>
              </a:rPr>
              <a:t>Kommunisere utviklingsbehov til grunndatakoordinator, </a:t>
            </a:r>
            <a:r>
              <a:rPr lang="nb-NO" sz="1800" dirty="0" err="1">
                <a:solidFill>
                  <a:srgbClr val="1E3145"/>
                </a:solidFill>
                <a:effectLst/>
                <a:latin typeface="Arial" panose="020B0604020202020204" pitchFamily="34" charset="0"/>
                <a:ea typeface="Yu Gothic Light" panose="020B0300000000000000" pitchFamily="34" charset="-128"/>
                <a:cs typeface="Arial" panose="020B0604020202020204" pitchFamily="34" charset="0"/>
              </a:rPr>
              <a:t>evt</a:t>
            </a:r>
            <a:r>
              <a:rPr lang="nb-NO" sz="1800">
                <a:solidFill>
                  <a:srgbClr val="1E3145"/>
                </a:solidFill>
                <a:effectLst/>
                <a:latin typeface="Arial" panose="020B0604020202020204" pitchFamily="34" charset="0"/>
                <a:ea typeface="Yu Gothic Light" panose="020B0300000000000000" pitchFamily="34" charset="-128"/>
                <a:cs typeface="Arial" panose="020B0604020202020204" pitchFamily="34" charset="0"/>
              </a:rPr>
              <a:t> domeneansvarlig der dette er etablert</a:t>
            </a:r>
            <a:endParaRPr lang="nb-NO" sz="1800">
              <a:solidFill>
                <a:srgbClr val="1E3145"/>
              </a:solidFill>
              <a:effectLst/>
              <a:latin typeface="Arial" panose="020B0604020202020204" pitchFamily="34" charset="0"/>
              <a:ea typeface="Calibri" panose="020F0502020204030204" pitchFamily="34" charset="0"/>
              <a:cs typeface="Arial" panose="020B0604020202020204" pitchFamily="34" charset="0"/>
            </a:endParaRPr>
          </a:p>
          <a:p>
            <a:pPr>
              <a:spcBef>
                <a:spcPts val="200"/>
              </a:spcBef>
            </a:pPr>
            <a:endParaRPr lang="nb-NO"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endParaRPr>
          </a:p>
          <a:p>
            <a:pPr>
              <a:spcBef>
                <a:spcPts val="200"/>
              </a:spcBef>
            </a:pPr>
            <a:r>
              <a:rPr lang="nb-NO"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Sammensetning og kompetanse</a:t>
            </a:r>
          </a:p>
          <a:p>
            <a:r>
              <a:rPr lang="nb-NO" sz="1800" dirty="0">
                <a:solidFill>
                  <a:srgbClr val="1E3145"/>
                </a:solidFill>
                <a:effectLst/>
                <a:latin typeface="Arial" panose="020B0604020202020204" pitchFamily="34" charset="0"/>
                <a:ea typeface="Calibri" panose="020F0502020204030204" pitchFamily="34" charset="0"/>
                <a:cs typeface="Arial" panose="020B0604020202020204" pitchFamily="34" charset="0"/>
              </a:rPr>
              <a:t>Grunndataforvalter velger selv hvordan de rigger seg lokalt for å ivareta grunndataforvalterrollen</a:t>
            </a:r>
          </a:p>
          <a:p>
            <a:pPr>
              <a:spcBef>
                <a:spcPts val="200"/>
              </a:spcBef>
            </a:pPr>
            <a:endParaRPr lang="nb-NO"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endParaRPr>
          </a:p>
          <a:p>
            <a:pPr>
              <a:spcBef>
                <a:spcPts val="200"/>
              </a:spcBef>
            </a:pPr>
            <a:r>
              <a:rPr lang="nb-NO"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Samspill med andre aktører i rammeverket</a:t>
            </a:r>
          </a:p>
          <a:p>
            <a:r>
              <a:rPr lang="nb-NO" sz="1800" dirty="0">
                <a:solidFill>
                  <a:srgbClr val="1E3145"/>
                </a:solidFill>
                <a:effectLst/>
                <a:latin typeface="Arial" panose="020B0604020202020204" pitchFamily="34" charset="0"/>
                <a:ea typeface="Calibri" panose="020F0502020204030204" pitchFamily="34" charset="0"/>
                <a:cs typeface="Arial" panose="020B0604020202020204" pitchFamily="34" charset="0"/>
              </a:rPr>
              <a:t>Det er viktig at grunndataforvalter har tett samarbeid med nasjonal grunndatakoordinator</a:t>
            </a:r>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231179-FD42-4DE4-B743-21F75FE20A5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2845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lvl="0" indent="0">
              <a:spcBef>
                <a:spcPts val="200"/>
              </a:spcBef>
              <a:buFont typeface="+mj-lt"/>
              <a:buNone/>
            </a:pPr>
            <a:r>
              <a:rPr lang="nb-NO"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Beskrivelse:</a:t>
            </a:r>
          </a:p>
          <a:p>
            <a:pPr marL="0" lvl="0" indent="0">
              <a:spcBef>
                <a:spcPts val="200"/>
              </a:spcBef>
              <a:buFont typeface="+mj-lt"/>
              <a:buNone/>
            </a:pPr>
            <a:endParaRPr lang="nb-NO"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endParaRPr>
          </a:p>
          <a:p>
            <a:pPr marL="0" lvl="0" indent="0">
              <a:spcBef>
                <a:spcPts val="200"/>
              </a:spcBef>
              <a:buFont typeface="+mj-lt"/>
              <a:buNone/>
            </a:pPr>
            <a:r>
              <a:rPr lang="nb-NO" sz="18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Domeneansvarlig</a:t>
            </a:r>
          </a:p>
          <a:p>
            <a:r>
              <a:rPr lang="nb-NO" sz="1200" dirty="0">
                <a:solidFill>
                  <a:srgbClr val="1E3145"/>
                </a:solidFill>
                <a:effectLst/>
                <a:latin typeface="Arial" panose="020B0604020202020204" pitchFamily="34" charset="0"/>
                <a:ea typeface="Calibri" panose="020F0502020204030204" pitchFamily="34" charset="0"/>
                <a:cs typeface="Arial" panose="020B0604020202020204" pitchFamily="34" charset="0"/>
              </a:rPr>
              <a:t>Hvert domene får tildelt en domeneansvarlig som har et overordnet og helhetlig ansvar for grunndataene innenfor et domene. Rollen skal sørge for at grunndataene i tilhørende domene blir forvaltet og videreutviklet slik at dataene er oppdaterte, enkelt tilgjengelig og dekker konsumentenes behov. </a:t>
            </a:r>
          </a:p>
          <a:p>
            <a:r>
              <a:rPr lang="nb-NO" sz="1200" dirty="0">
                <a:solidFill>
                  <a:srgbClr val="1E3145"/>
                </a:solidFill>
                <a:effectLst/>
                <a:latin typeface="Arial" panose="020B0604020202020204" pitchFamily="34" charset="0"/>
                <a:ea typeface="Calibri" panose="020F0502020204030204" pitchFamily="34" charset="0"/>
                <a:cs typeface="Arial" panose="020B0604020202020204" pitchFamily="34" charset="0"/>
              </a:rPr>
              <a:t> </a:t>
            </a:r>
          </a:p>
          <a:p>
            <a:pPr>
              <a:spcBef>
                <a:spcPts val="200"/>
              </a:spcBef>
            </a:pPr>
            <a:r>
              <a:rPr lang="nb-NO" sz="14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Domeneansvarlig hovedansvar og oppgaver</a:t>
            </a:r>
          </a:p>
          <a:p>
            <a:r>
              <a:rPr lang="nb-NO" sz="1200" dirty="0">
                <a:solidFill>
                  <a:srgbClr val="1E3145"/>
                </a:solidFill>
                <a:effectLst/>
                <a:latin typeface="Arial" panose="020B0604020202020204" pitchFamily="34" charset="0"/>
                <a:ea typeface="Calibri" panose="020F0502020204030204" pitchFamily="34" charset="0"/>
                <a:cs typeface="Arial" panose="020B0604020202020204" pitchFamily="34" charset="0"/>
              </a:rPr>
              <a:t>Rollen definerer domenets subdomener og fungerer som koordinator for grunndataforvalterne i subdomenene. </a:t>
            </a:r>
          </a:p>
          <a:p>
            <a:r>
              <a:rPr lang="nb-NO" sz="1200" dirty="0">
                <a:solidFill>
                  <a:srgbClr val="1E3145"/>
                </a:solidFill>
                <a:effectLst/>
                <a:latin typeface="Arial" panose="020B0604020202020204" pitchFamily="34" charset="0"/>
                <a:ea typeface="Calibri" panose="020F0502020204030204" pitchFamily="34" charset="0"/>
                <a:cs typeface="Arial" panose="020B0604020202020204" pitchFamily="34" charset="0"/>
              </a:rPr>
              <a:t>Domeneansvarlig sørger for god dataforvaltning i domenet ved å delegere ansvarsoppgaver knyttet til blant annet datakvalitet og tilgjengelighet. Krav til datakvalitet og tilgjengelighet reguleres innenfor hvert domene. Domeneansvarlig skal sørge for at det etableres «feedback loops» inn til aktuelle grunndataforvaltere. Domeneansvarlig har ansvar for å organisere en prosess med involverte aktører for å dokumentere konsumentenes databehov og hensiktsmessige krav knyttet til dataene. </a:t>
            </a:r>
          </a:p>
          <a:p>
            <a:r>
              <a:rPr lang="nb-NO" sz="1200" dirty="0">
                <a:solidFill>
                  <a:srgbClr val="1E3145"/>
                </a:solidFill>
                <a:effectLst/>
                <a:latin typeface="Arial" panose="020B0604020202020204" pitchFamily="34" charset="0"/>
                <a:ea typeface="Calibri" panose="020F0502020204030204" pitchFamily="34" charset="0"/>
                <a:cs typeface="Arial" panose="020B0604020202020204" pitchFamily="34" charset="0"/>
              </a:rPr>
              <a:t>Domeneansvarlig har ansvar for intensjons-, utviklings- og samarbeidsavtale(r) innenfor sitt domene (se del 3).</a:t>
            </a:r>
          </a:p>
          <a:p>
            <a:r>
              <a:rPr lang="nb-NO" sz="1200" dirty="0">
                <a:solidFill>
                  <a:srgbClr val="1E3145"/>
                </a:solidFill>
                <a:effectLst/>
                <a:latin typeface="Arial" panose="020B0604020202020204" pitchFamily="34" charset="0"/>
                <a:ea typeface="Calibri" panose="020F0502020204030204" pitchFamily="34" charset="0"/>
                <a:cs typeface="Arial" panose="020B0604020202020204" pitchFamily="34" charset="0"/>
              </a:rPr>
              <a:t> </a:t>
            </a:r>
          </a:p>
          <a:p>
            <a:pPr>
              <a:spcBef>
                <a:spcPts val="200"/>
              </a:spcBef>
            </a:pPr>
            <a:r>
              <a:rPr lang="nb-NO" sz="14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Sammensetning og kompetanse</a:t>
            </a:r>
          </a:p>
          <a:p>
            <a:pPr>
              <a:lnSpc>
                <a:spcPct val="107000"/>
              </a:lnSpc>
            </a:pPr>
            <a:r>
              <a:rPr lang="nb-NO" sz="1200" dirty="0">
                <a:solidFill>
                  <a:srgbClr val="1E3145"/>
                </a:solidFill>
                <a:effectLst/>
                <a:latin typeface="Arial" panose="020B0604020202020204" pitchFamily="34" charset="0"/>
                <a:ea typeface="Calibri" panose="020F0502020204030204" pitchFamily="34" charset="0"/>
                <a:cs typeface="Arial" panose="020B0604020202020204" pitchFamily="34" charset="0"/>
              </a:rPr>
              <a:t>Domeneansvarlig-rollen representerer nasjonal fagekspertise innenfor sitt domene. Rollen bør bestå av ressurser med kompetanse fra både data- og forretningssiden innen sitt domene. Rolleinnehaver må forstå dataenes rolle i verdiskapende prosesser, hvordan forvaltning av data bør organiseres tematisk og hvilke konsekvenser organiseringen har for grunndataforvalter/tilbyder og konsumenter av dataene. </a:t>
            </a:r>
          </a:p>
          <a:p>
            <a:pPr>
              <a:spcBef>
                <a:spcPts val="200"/>
              </a:spcBef>
            </a:pPr>
            <a:endParaRPr lang="nb-NO" sz="14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endParaRPr>
          </a:p>
          <a:p>
            <a:pPr>
              <a:spcBef>
                <a:spcPts val="200"/>
              </a:spcBef>
            </a:pPr>
            <a:r>
              <a:rPr lang="nb-NO" sz="1400" b="1" dirty="0">
                <a:solidFill>
                  <a:srgbClr val="1D98F5"/>
                </a:solidFill>
                <a:effectLst/>
                <a:latin typeface="Arial" panose="020B0604020202020204" pitchFamily="34" charset="0"/>
                <a:ea typeface="Yu Gothic Light" panose="020B0300000000000000" pitchFamily="34" charset="-128"/>
                <a:cs typeface="Times New Roman" panose="02020603050405020304" pitchFamily="18" charset="0"/>
              </a:rPr>
              <a:t>Samspill med andre aktører i rammeverket</a:t>
            </a:r>
          </a:p>
          <a:p>
            <a:r>
              <a:rPr lang="nb-NO" sz="1200" dirty="0">
                <a:solidFill>
                  <a:srgbClr val="1E3145"/>
                </a:solidFill>
                <a:effectLst/>
                <a:latin typeface="Arial" panose="020B0604020202020204" pitchFamily="34" charset="0"/>
                <a:ea typeface="Calibri" panose="020F0502020204030204" pitchFamily="34" charset="0"/>
                <a:cs typeface="Arial" panose="020B0604020202020204" pitchFamily="34" charset="0"/>
              </a:rPr>
              <a:t>Domeneansvarlig har ansvaret for å etablere kontaktflater mot grunndataforvalterne i eget domene samt etablere tett dialog og samarbeid med grunndatakoordinator.</a:t>
            </a:r>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231179-FD42-4DE4-B743-21F75FE20A5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81255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96A3130C-98B3-4287-B670-4F055D67C7D5}" type="slidenum">
              <a:rPr kumimoji="0" lang="nb-NO"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36</a:t>
            </a:fld>
            <a:endParaRPr kumimoji="0" lang="nb-NO"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65777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4C0C9-5334-76EE-C7D3-0F08BE1E9DF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5CE4E69-ECDF-E4B7-C43C-C33983F69F50}"/>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38DFF3D7-B5FB-323C-66B8-CA042E570A3D}"/>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90E24DB7-7C72-0020-AF62-FD0D712E7C5E}"/>
              </a:ext>
            </a:extLst>
          </p:cNvPr>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3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12665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72041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4D0D7-E1AF-F72C-7B1B-6F2BCB3B2B0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598257-2FF1-B6DA-AD07-9169171953C7}"/>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7473FA47-0A34-BF8A-3355-6BB99915A04B}"/>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0D5CF630-6C38-F231-995B-A9170FCAE6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2651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1800" dirty="0">
              <a:effectLst/>
              <a:latin typeface="Segoe UI" panose="020B0502040204020203" pitchFamily="34" charset="0"/>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2410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dirty="0">
                <a:effectLst/>
                <a:latin typeface="Segoe UI" panose="020B0502040204020203" pitchFamily="34" charset="0"/>
              </a:rPr>
              <a:t>https://www.go-fair.org/fair-principles/</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5961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Styring og koordinering av tjenester i e-forvaltningen</a:t>
            </a:r>
            <a:endParaRPr lang="nb-NO" dirty="0"/>
          </a:p>
          <a:p>
            <a:endParaRPr lang="en-US" dirty="0">
              <a:cs typeface="Calibri"/>
            </a:endParaRPr>
          </a:p>
          <a:p>
            <a:r>
              <a:rPr lang="en-US" dirty="0" err="1">
                <a:cs typeface="Calibri"/>
              </a:rPr>
              <a:t>Digitaliseringsministeren</a:t>
            </a:r>
            <a:r>
              <a:rPr lang="en-US" dirty="0">
                <a:cs typeface="Calibri"/>
              </a:rPr>
              <a:t> er per </a:t>
            </a:r>
            <a:r>
              <a:rPr lang="en-US" dirty="0" err="1">
                <a:cs typeface="Calibri"/>
              </a:rPr>
              <a:t>nå</a:t>
            </a:r>
            <a:r>
              <a:rPr lang="en-US" dirty="0">
                <a:cs typeface="Calibri"/>
              </a:rPr>
              <a:t> </a:t>
            </a:r>
            <a:r>
              <a:rPr lang="en-US" dirty="0" err="1">
                <a:cs typeface="Calibri"/>
              </a:rPr>
              <a:t>Kommunal</a:t>
            </a:r>
            <a:r>
              <a:rPr lang="en-US" dirty="0">
                <a:cs typeface="Calibri"/>
              </a:rPr>
              <a:t>- og distriktsministeren. Den </a:t>
            </a:r>
            <a:r>
              <a:rPr lang="en-US" dirty="0" err="1">
                <a:cs typeface="Calibri"/>
              </a:rPr>
              <a:t>som</a:t>
            </a:r>
            <a:r>
              <a:rPr lang="en-US" dirty="0">
                <a:cs typeface="Calibri"/>
              </a:rPr>
              <a:t> </a:t>
            </a:r>
            <a:r>
              <a:rPr lang="en-US" dirty="0" err="1">
                <a:cs typeface="Calibri"/>
              </a:rPr>
              <a:t>til</a:t>
            </a:r>
            <a:r>
              <a:rPr lang="en-US" dirty="0">
                <a:cs typeface="Calibri"/>
              </a:rPr>
              <a:t> </a:t>
            </a:r>
            <a:r>
              <a:rPr lang="en-US" dirty="0" err="1">
                <a:cs typeface="Calibri"/>
              </a:rPr>
              <a:t>enhver</a:t>
            </a:r>
            <a:r>
              <a:rPr lang="en-US" dirty="0">
                <a:cs typeface="Calibri"/>
              </a:rPr>
              <a:t> </a:t>
            </a:r>
            <a:r>
              <a:rPr lang="en-US" dirty="0" err="1">
                <a:cs typeface="Calibri"/>
              </a:rPr>
              <a:t>tid</a:t>
            </a:r>
            <a:r>
              <a:rPr lang="en-US" dirty="0">
                <a:cs typeface="Calibri"/>
              </a:rPr>
              <a:t> </a:t>
            </a:r>
            <a:r>
              <a:rPr lang="en-US" dirty="0" err="1">
                <a:cs typeface="Calibri"/>
              </a:rPr>
              <a:t>har</a:t>
            </a:r>
            <a:r>
              <a:rPr lang="en-US" dirty="0">
                <a:cs typeface="Calibri"/>
              </a:rPr>
              <a:t> </a:t>
            </a:r>
            <a:r>
              <a:rPr lang="en-US" dirty="0" err="1">
                <a:cs typeface="Calibri"/>
              </a:rPr>
              <a:t>ansvar</a:t>
            </a:r>
            <a:r>
              <a:rPr lang="en-US" dirty="0">
                <a:cs typeface="Calibri"/>
              </a:rPr>
              <a:t> for </a:t>
            </a:r>
            <a:r>
              <a:rPr lang="en-US" dirty="0" err="1">
                <a:cs typeface="Calibri"/>
              </a:rPr>
              <a:t>digitaliseringspolitikken</a:t>
            </a:r>
            <a:r>
              <a:rPr lang="en-US" dirty="0">
                <a:cs typeface="Calibri"/>
              </a:rPr>
              <a:t>. </a:t>
            </a:r>
          </a:p>
          <a:p>
            <a:endParaRPr lang="en-US" dirty="0">
              <a:cs typeface="Calibri"/>
            </a:endParaRPr>
          </a:p>
          <a:p>
            <a:r>
              <a:rPr lang="nb-NO" b="0" i="0" dirty="0">
                <a:solidFill>
                  <a:srgbClr val="1E2B3C"/>
                </a:solidFill>
                <a:effectLst/>
                <a:latin typeface="Inter"/>
              </a:rPr>
              <a:t>Skate skal medvirke til god måloppnåelse innenfor regjeringens it-politikk gjennom å bidra til samordnet digitalisering av offentlig sektor som skal gi gevinster for…</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A39D6065-A2E1-4F6B-AEBF-BAF8B897B85E}"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78461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681A0C-6FB9-38A5-8602-FC799BC4694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74FF1323-7102-8F78-ACF4-1FA004788474}"/>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06D31309-A2D1-C49D-AD67-64C01A773D3C}"/>
              </a:ext>
            </a:extLst>
          </p:cNvPr>
          <p:cNvSpPr>
            <a:spLocks noGrp="1"/>
          </p:cNvSpPr>
          <p:nvPr>
            <p:ph type="body" idx="1"/>
          </p:nvPr>
        </p:nvSpPr>
        <p:spPr/>
        <p:txBody>
          <a:bodyPr/>
          <a:lstStyle/>
          <a:p>
            <a:endParaRPr lang="nb-NO"/>
          </a:p>
        </p:txBody>
      </p:sp>
      <p:sp>
        <p:nvSpPr>
          <p:cNvPr id="4" name="Plassholder for lysbildenummer 3">
            <a:extLst>
              <a:ext uri="{FF2B5EF4-FFF2-40B4-BE49-F238E27FC236}">
                <a16:creationId xmlns:a16="http://schemas.microsoft.com/office/drawing/2014/main" id="{34B26480-1887-6D9E-0CD1-6B98D5EF7371}"/>
              </a:ext>
            </a:extLst>
          </p:cNvPr>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4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5444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nb-NO" sz="1800">
                <a:effectLst/>
                <a:latin typeface="Calibri" panose="020F0502020204030204" pitchFamily="34" charset="0"/>
                <a:ea typeface="Calibri" panose="020F0502020204030204" pitchFamily="34" charset="0"/>
                <a:cs typeface="Arial" panose="020B0604020202020204" pitchFamily="34" charset="0"/>
              </a:rPr>
              <a:t>Illustrasjonen viser styringsmodellen som en 4 trinns prosess (basert på EIF </a:t>
            </a:r>
            <a:r>
              <a:rPr lang="nb-NO" sz="1800" err="1">
                <a:effectLst/>
                <a:latin typeface="Calibri" panose="020F0502020204030204" pitchFamily="34" charset="0"/>
                <a:ea typeface="Calibri" panose="020F0502020204030204" pitchFamily="34" charset="0"/>
                <a:cs typeface="Arial" panose="020B0604020202020204" pitchFamily="34" charset="0"/>
              </a:rPr>
              <a:t>Roadmap</a:t>
            </a:r>
            <a:r>
              <a:rPr lang="nb-NO" sz="1800">
                <a:effectLst/>
                <a:latin typeface="Calibri" panose="020F0502020204030204" pitchFamily="34" charset="0"/>
                <a:ea typeface="Calibri" panose="020F0502020204030204" pitchFamily="34" charset="0"/>
                <a:cs typeface="Arial" panose="020B0604020202020204" pitchFamily="34" charset="0"/>
              </a:rPr>
              <a:t>), hvorav de 3 første er en planprosess og den fjerde er drift og forvaltning.</a:t>
            </a:r>
            <a:endParaRPr lang="en-NO" sz="1800">
              <a:effectLst/>
              <a:latin typeface="Calibri" panose="020F0502020204030204" pitchFamily="34" charset="0"/>
              <a:ea typeface="Calibri" panose="020F0502020204030204" pitchFamily="34" charset="0"/>
              <a:cs typeface="Arial" panose="020B0604020202020204" pitchFamily="34" charset="0"/>
            </a:endParaRPr>
          </a:p>
          <a:p>
            <a:r>
              <a:rPr lang="nb-NO" sz="1800">
                <a:effectLst/>
                <a:latin typeface="Calibri" panose="020F0502020204030204" pitchFamily="34" charset="0"/>
                <a:ea typeface="Calibri" panose="020F0502020204030204" pitchFamily="34" charset="0"/>
                <a:cs typeface="Arial" panose="020B0604020202020204" pitchFamily="34" charset="0"/>
              </a:rPr>
              <a:t>Den viser hvordan de 3 avtaletypene er med på å drive utvikling fra ett trinn i prosessen til et annet. Den viser hvordan GDK-leder driver en kontinuerlig prosess drevet av verdi for samfunnet og politisk vilje. Dette arbeidet utføres av koordinator som har et planansvar. Koordinatoren har et tett samarbeid med ulike aktører som også tar et varig ansvar for drift og forvaltning. Skate er prioriterende organ og setter tempo i planprosessen</a:t>
            </a:r>
            <a:r>
              <a:rPr lang="en-NO">
                <a:effectLst/>
              </a:rPr>
              <a:t> </a:t>
            </a:r>
          </a:p>
          <a:p>
            <a:endParaRPr lang="nb-NO"/>
          </a:p>
          <a:p>
            <a:pPr algn="l"/>
            <a:r>
              <a:rPr lang="nb-NO"/>
              <a:t>Realiseringsavtale kunne vært «planprosjekt». Og Samarbeidsavtale kunne vært «driftsavtale».</a:t>
            </a:r>
            <a:br>
              <a:rPr lang="nb-NO"/>
            </a:br>
            <a:r>
              <a:rPr lang="nb-NO"/>
              <a:t>Modell litt ala «nye veier»: «</a:t>
            </a:r>
            <a:r>
              <a:rPr lang="en-GB" b="0" i="0">
                <a:solidFill>
                  <a:srgbClr val="424242"/>
                </a:solidFill>
                <a:effectLst/>
                <a:latin typeface="segoe UI" panose="020F0502020204030204" pitchFamily="34" charset="0"/>
              </a:rPr>
              <a:t>Nye </a:t>
            </a:r>
            <a:r>
              <a:rPr lang="en-GB" b="0" i="0" err="1">
                <a:solidFill>
                  <a:srgbClr val="424242"/>
                </a:solidFill>
                <a:effectLst/>
                <a:latin typeface="segoe UI" panose="020F0502020204030204" pitchFamily="34" charset="0"/>
              </a:rPr>
              <a:t>Vei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ha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ansvar</a:t>
            </a:r>
            <a:r>
              <a:rPr lang="en-GB" b="0" i="0">
                <a:solidFill>
                  <a:srgbClr val="424242"/>
                </a:solidFill>
                <a:effectLst/>
                <a:latin typeface="segoe UI" panose="020F0502020204030204" pitchFamily="34" charset="0"/>
              </a:rPr>
              <a:t> for </a:t>
            </a:r>
            <a:r>
              <a:rPr lang="en-GB" b="0" i="0" err="1">
                <a:solidFill>
                  <a:srgbClr val="424242"/>
                </a:solidFill>
                <a:effectLst/>
                <a:latin typeface="segoe UI" panose="020F0502020204030204" pitchFamily="34" charset="0"/>
              </a:rPr>
              <a:t>m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enn</a:t>
            </a:r>
            <a:r>
              <a:rPr lang="en-GB" b="0" i="0">
                <a:solidFill>
                  <a:srgbClr val="424242"/>
                </a:solidFill>
                <a:effectLst/>
                <a:latin typeface="segoe UI" panose="020F0502020204030204" pitchFamily="34" charset="0"/>
              </a:rPr>
              <a:t> 25 </a:t>
            </a:r>
            <a:r>
              <a:rPr lang="en-GB" b="0" i="0" err="1">
                <a:solidFill>
                  <a:srgbClr val="424242"/>
                </a:solidFill>
                <a:effectLst/>
                <a:latin typeface="segoe UI" panose="020F0502020204030204" pitchFamily="34" charset="0"/>
              </a:rPr>
              <a:t>planprosjekt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i</a:t>
            </a:r>
            <a:r>
              <a:rPr lang="en-GB" b="0" i="0">
                <a:solidFill>
                  <a:srgbClr val="424242"/>
                </a:solidFill>
                <a:effectLst/>
                <a:latin typeface="segoe UI" panose="020F0502020204030204" pitchFamily="34" charset="0"/>
              </a:rPr>
              <a:t> det </a:t>
            </a:r>
            <a:r>
              <a:rPr lang="en-GB" b="0" i="0" err="1">
                <a:solidFill>
                  <a:srgbClr val="424242"/>
                </a:solidFill>
                <a:effectLst/>
                <a:latin typeface="segoe UI" panose="020F0502020204030204" pitchFamily="34" charset="0"/>
              </a:rPr>
              <a:t>som</a:t>
            </a:r>
            <a:r>
              <a:rPr lang="en-GB" b="0" i="0">
                <a:solidFill>
                  <a:srgbClr val="424242"/>
                </a:solidFill>
                <a:effectLst/>
                <a:latin typeface="segoe UI" panose="020F0502020204030204" pitchFamily="34" charset="0"/>
              </a:rPr>
              <a:t> er </a:t>
            </a:r>
            <a:r>
              <a:rPr lang="en-GB" b="0" i="0" err="1">
                <a:solidFill>
                  <a:srgbClr val="424242"/>
                </a:solidFill>
                <a:effectLst/>
                <a:latin typeface="segoe UI" panose="020F0502020204030204" pitchFamily="34" charset="0"/>
              </a:rPr>
              <a:t>planporteføljen</a:t>
            </a:r>
            <a:r>
              <a:rPr lang="en-GB" b="0" i="0">
                <a:solidFill>
                  <a:srgbClr val="424242"/>
                </a:solidFill>
                <a:effectLst/>
                <a:latin typeface="segoe UI" panose="020F0502020204030204" pitchFamily="34" charset="0"/>
              </a:rPr>
              <a:t>. God </a:t>
            </a:r>
            <a:r>
              <a:rPr lang="en-GB" b="0" i="0" err="1">
                <a:solidFill>
                  <a:srgbClr val="424242"/>
                </a:solidFill>
                <a:effectLst/>
                <a:latin typeface="segoe UI" panose="020F0502020204030204" pitchFamily="34" charset="0"/>
              </a:rPr>
              <a:t>samfunnsøkonomisk</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lønnsomhet</a:t>
            </a:r>
            <a:r>
              <a:rPr lang="en-GB" b="0" i="0">
                <a:solidFill>
                  <a:srgbClr val="424242"/>
                </a:solidFill>
                <a:effectLst/>
                <a:latin typeface="segoe UI" panose="020F0502020204030204" pitchFamily="34" charset="0"/>
              </a:rPr>
              <a:t> er </a:t>
            </a:r>
            <a:r>
              <a:rPr lang="en-GB" b="0" i="0" err="1">
                <a:solidFill>
                  <a:srgbClr val="424242"/>
                </a:solidFill>
                <a:effectLst/>
                <a:latin typeface="segoe UI" panose="020F0502020204030204" pitchFamily="34" charset="0"/>
              </a:rPr>
              <a:t>nødvendig</a:t>
            </a:r>
            <a:r>
              <a:rPr lang="en-GB" b="0" i="0">
                <a:solidFill>
                  <a:srgbClr val="424242"/>
                </a:solidFill>
                <a:effectLst/>
                <a:latin typeface="segoe UI" panose="020F0502020204030204" pitchFamily="34" charset="0"/>
              </a:rPr>
              <a:t> for at </a:t>
            </a:r>
            <a:r>
              <a:rPr lang="en-GB" b="0" i="0" err="1">
                <a:solidFill>
                  <a:srgbClr val="424242"/>
                </a:solidFill>
                <a:effectLst/>
                <a:latin typeface="segoe UI" panose="020F0502020204030204" pitchFamily="34" charset="0"/>
              </a:rPr>
              <a:t>prosjektet</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kal</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nå</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opp</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i</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prioriteringen</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av</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hvilke</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prosjekt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om</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kal</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bygges</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ut</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først</a:t>
            </a:r>
            <a:r>
              <a:rPr lang="en-GB" b="0" i="0">
                <a:solidFill>
                  <a:srgbClr val="424242"/>
                </a:solidFill>
                <a:effectLst/>
                <a:latin typeface="segoe UI" panose="020F0502020204030204" pitchFamily="34" charset="0"/>
              </a:rPr>
              <a:t>. Nye </a:t>
            </a:r>
            <a:r>
              <a:rPr lang="en-GB" b="0" i="0" err="1">
                <a:solidFill>
                  <a:srgbClr val="424242"/>
                </a:solidFill>
                <a:effectLst/>
                <a:latin typeface="segoe UI" panose="020F0502020204030204" pitchFamily="34" charset="0"/>
              </a:rPr>
              <a:t>Vei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vurder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hvilke</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planprosjekt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om</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kal</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tartes</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opp</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først</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og</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i</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hvilken</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rekkefølge</a:t>
            </a:r>
            <a:r>
              <a:rPr lang="en-GB" b="0" i="0">
                <a:solidFill>
                  <a:srgbClr val="424242"/>
                </a:solidFill>
                <a:effectLst/>
                <a:latin typeface="segoe UI" panose="020F0502020204030204" pitchFamily="34" charset="0"/>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B34143-361C-40C3-94B4-13B607FE6EA4}"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68258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GB" b="0" i="0">
              <a:solidFill>
                <a:srgbClr val="424242"/>
              </a:solidFill>
              <a:effectLst/>
              <a:latin typeface="segoe U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B34143-361C-40C3-94B4-13B607FE6EA4}"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02247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2BFFD-1C33-7A65-0DCF-FFDC98F0C6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B170BE-A165-2A95-679F-3A327EB7AB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B21C41-FF3F-1671-CF93-ABE9616134F1}"/>
              </a:ext>
            </a:extLst>
          </p:cNvPr>
          <p:cNvSpPr>
            <a:spLocks noGrp="1"/>
          </p:cNvSpPr>
          <p:nvPr>
            <p:ph type="body" idx="1"/>
          </p:nvPr>
        </p:nvSpPr>
        <p:spPr/>
        <p:txBody>
          <a:bodyPr/>
          <a:lstStyle/>
          <a:p>
            <a:pPr>
              <a:lnSpc>
                <a:spcPct val="107000"/>
              </a:lnSpc>
              <a:spcAft>
                <a:spcPts val="800"/>
              </a:spcAft>
            </a:pPr>
            <a:r>
              <a:rPr lang="nb-NO" sz="1800">
                <a:effectLst/>
                <a:latin typeface="Calibri" panose="020F0502020204030204" pitchFamily="34" charset="0"/>
                <a:ea typeface="Calibri" panose="020F0502020204030204" pitchFamily="34" charset="0"/>
                <a:cs typeface="Arial" panose="020B0604020202020204" pitchFamily="34" charset="0"/>
              </a:rPr>
              <a:t>Illustrasjonen viser styringsmodellen som en 4 trinns prosess (basert på EIF </a:t>
            </a:r>
            <a:r>
              <a:rPr lang="nb-NO" sz="1800" err="1">
                <a:effectLst/>
                <a:latin typeface="Calibri" panose="020F0502020204030204" pitchFamily="34" charset="0"/>
                <a:ea typeface="Calibri" panose="020F0502020204030204" pitchFamily="34" charset="0"/>
                <a:cs typeface="Arial" panose="020B0604020202020204" pitchFamily="34" charset="0"/>
              </a:rPr>
              <a:t>Roadmap</a:t>
            </a:r>
            <a:r>
              <a:rPr lang="nb-NO" sz="1800">
                <a:effectLst/>
                <a:latin typeface="Calibri" panose="020F0502020204030204" pitchFamily="34" charset="0"/>
                <a:ea typeface="Calibri" panose="020F0502020204030204" pitchFamily="34" charset="0"/>
                <a:cs typeface="Arial" panose="020B0604020202020204" pitchFamily="34" charset="0"/>
              </a:rPr>
              <a:t>), hvorav de 3 første er en planprosess og den fjerde er drift og forvaltning.</a:t>
            </a:r>
            <a:endParaRPr lang="en-NO" sz="1800">
              <a:effectLst/>
              <a:latin typeface="Calibri" panose="020F0502020204030204" pitchFamily="34" charset="0"/>
              <a:ea typeface="Calibri" panose="020F0502020204030204" pitchFamily="34" charset="0"/>
              <a:cs typeface="Arial" panose="020B0604020202020204" pitchFamily="34" charset="0"/>
            </a:endParaRPr>
          </a:p>
          <a:p>
            <a:r>
              <a:rPr lang="nb-NO" sz="1800">
                <a:effectLst/>
                <a:latin typeface="Calibri" panose="020F0502020204030204" pitchFamily="34" charset="0"/>
                <a:ea typeface="Calibri" panose="020F0502020204030204" pitchFamily="34" charset="0"/>
                <a:cs typeface="Arial" panose="020B0604020202020204" pitchFamily="34" charset="0"/>
              </a:rPr>
              <a:t>Den viser hvordan de 3 avtaletypene er med på å drive utvikling fra ett trinn i prosessen til et annet. Den viser hvordan GDK-leder driver en kontinuerlig prosess drevet av verdi for samfunnet og politisk vilje. Dette arbeidet utføres av koordinator som har et planansvar. Koordinatoren har et tett samarbeid med ulike aktører som også tar et varig ansvar for drift og forvaltning. Skate er prioriterende organ og setter tempo i planprosessen</a:t>
            </a:r>
            <a:r>
              <a:rPr lang="en-NO">
                <a:effectLst/>
              </a:rPr>
              <a:t> </a:t>
            </a:r>
          </a:p>
          <a:p>
            <a:endParaRPr lang="nb-NO"/>
          </a:p>
          <a:p>
            <a:pPr algn="l"/>
            <a:r>
              <a:rPr lang="nb-NO"/>
              <a:t>Realiseringsavtale kunne vært «planprosjekt». Og Samarbeidsavtale kunne vært «driftsavtale».</a:t>
            </a:r>
            <a:br>
              <a:rPr lang="nb-NO"/>
            </a:br>
            <a:r>
              <a:rPr lang="nb-NO"/>
              <a:t>Modell litt ala «nye veier»: «</a:t>
            </a:r>
            <a:r>
              <a:rPr lang="en-GB" b="0" i="0">
                <a:solidFill>
                  <a:srgbClr val="424242"/>
                </a:solidFill>
                <a:effectLst/>
                <a:latin typeface="segoe UI" panose="020F0502020204030204" pitchFamily="34" charset="0"/>
              </a:rPr>
              <a:t>Nye </a:t>
            </a:r>
            <a:r>
              <a:rPr lang="en-GB" b="0" i="0" err="1">
                <a:solidFill>
                  <a:srgbClr val="424242"/>
                </a:solidFill>
                <a:effectLst/>
                <a:latin typeface="segoe UI" panose="020F0502020204030204" pitchFamily="34" charset="0"/>
              </a:rPr>
              <a:t>Vei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ha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ansvar</a:t>
            </a:r>
            <a:r>
              <a:rPr lang="en-GB" b="0" i="0">
                <a:solidFill>
                  <a:srgbClr val="424242"/>
                </a:solidFill>
                <a:effectLst/>
                <a:latin typeface="segoe UI" panose="020F0502020204030204" pitchFamily="34" charset="0"/>
              </a:rPr>
              <a:t> for </a:t>
            </a:r>
            <a:r>
              <a:rPr lang="en-GB" b="0" i="0" err="1">
                <a:solidFill>
                  <a:srgbClr val="424242"/>
                </a:solidFill>
                <a:effectLst/>
                <a:latin typeface="segoe UI" panose="020F0502020204030204" pitchFamily="34" charset="0"/>
              </a:rPr>
              <a:t>m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enn</a:t>
            </a:r>
            <a:r>
              <a:rPr lang="en-GB" b="0" i="0">
                <a:solidFill>
                  <a:srgbClr val="424242"/>
                </a:solidFill>
                <a:effectLst/>
                <a:latin typeface="segoe UI" panose="020F0502020204030204" pitchFamily="34" charset="0"/>
              </a:rPr>
              <a:t> 25 </a:t>
            </a:r>
            <a:r>
              <a:rPr lang="en-GB" b="0" i="0" err="1">
                <a:solidFill>
                  <a:srgbClr val="424242"/>
                </a:solidFill>
                <a:effectLst/>
                <a:latin typeface="segoe UI" panose="020F0502020204030204" pitchFamily="34" charset="0"/>
              </a:rPr>
              <a:t>planprosjekt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i</a:t>
            </a:r>
            <a:r>
              <a:rPr lang="en-GB" b="0" i="0">
                <a:solidFill>
                  <a:srgbClr val="424242"/>
                </a:solidFill>
                <a:effectLst/>
                <a:latin typeface="segoe UI" panose="020F0502020204030204" pitchFamily="34" charset="0"/>
              </a:rPr>
              <a:t> det </a:t>
            </a:r>
            <a:r>
              <a:rPr lang="en-GB" b="0" i="0" err="1">
                <a:solidFill>
                  <a:srgbClr val="424242"/>
                </a:solidFill>
                <a:effectLst/>
                <a:latin typeface="segoe UI" panose="020F0502020204030204" pitchFamily="34" charset="0"/>
              </a:rPr>
              <a:t>som</a:t>
            </a:r>
            <a:r>
              <a:rPr lang="en-GB" b="0" i="0">
                <a:solidFill>
                  <a:srgbClr val="424242"/>
                </a:solidFill>
                <a:effectLst/>
                <a:latin typeface="segoe UI" panose="020F0502020204030204" pitchFamily="34" charset="0"/>
              </a:rPr>
              <a:t> er </a:t>
            </a:r>
            <a:r>
              <a:rPr lang="en-GB" b="0" i="0" err="1">
                <a:solidFill>
                  <a:srgbClr val="424242"/>
                </a:solidFill>
                <a:effectLst/>
                <a:latin typeface="segoe UI" panose="020F0502020204030204" pitchFamily="34" charset="0"/>
              </a:rPr>
              <a:t>planporteføljen</a:t>
            </a:r>
            <a:r>
              <a:rPr lang="en-GB" b="0" i="0">
                <a:solidFill>
                  <a:srgbClr val="424242"/>
                </a:solidFill>
                <a:effectLst/>
                <a:latin typeface="segoe UI" panose="020F0502020204030204" pitchFamily="34" charset="0"/>
              </a:rPr>
              <a:t>. God </a:t>
            </a:r>
            <a:r>
              <a:rPr lang="en-GB" b="0" i="0" err="1">
                <a:solidFill>
                  <a:srgbClr val="424242"/>
                </a:solidFill>
                <a:effectLst/>
                <a:latin typeface="segoe UI" panose="020F0502020204030204" pitchFamily="34" charset="0"/>
              </a:rPr>
              <a:t>samfunnsøkonomisk</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lønnsomhet</a:t>
            </a:r>
            <a:r>
              <a:rPr lang="en-GB" b="0" i="0">
                <a:solidFill>
                  <a:srgbClr val="424242"/>
                </a:solidFill>
                <a:effectLst/>
                <a:latin typeface="segoe UI" panose="020F0502020204030204" pitchFamily="34" charset="0"/>
              </a:rPr>
              <a:t> er </a:t>
            </a:r>
            <a:r>
              <a:rPr lang="en-GB" b="0" i="0" err="1">
                <a:solidFill>
                  <a:srgbClr val="424242"/>
                </a:solidFill>
                <a:effectLst/>
                <a:latin typeface="segoe UI" panose="020F0502020204030204" pitchFamily="34" charset="0"/>
              </a:rPr>
              <a:t>nødvendig</a:t>
            </a:r>
            <a:r>
              <a:rPr lang="en-GB" b="0" i="0">
                <a:solidFill>
                  <a:srgbClr val="424242"/>
                </a:solidFill>
                <a:effectLst/>
                <a:latin typeface="segoe UI" panose="020F0502020204030204" pitchFamily="34" charset="0"/>
              </a:rPr>
              <a:t> for at </a:t>
            </a:r>
            <a:r>
              <a:rPr lang="en-GB" b="0" i="0" err="1">
                <a:solidFill>
                  <a:srgbClr val="424242"/>
                </a:solidFill>
                <a:effectLst/>
                <a:latin typeface="segoe UI" panose="020F0502020204030204" pitchFamily="34" charset="0"/>
              </a:rPr>
              <a:t>prosjektet</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kal</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nå</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opp</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i</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prioriteringen</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av</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hvilke</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prosjekt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om</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kal</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bygges</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ut</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først</a:t>
            </a:r>
            <a:r>
              <a:rPr lang="en-GB" b="0" i="0">
                <a:solidFill>
                  <a:srgbClr val="424242"/>
                </a:solidFill>
                <a:effectLst/>
                <a:latin typeface="segoe UI" panose="020F0502020204030204" pitchFamily="34" charset="0"/>
              </a:rPr>
              <a:t>. Nye </a:t>
            </a:r>
            <a:r>
              <a:rPr lang="en-GB" b="0" i="0" err="1">
                <a:solidFill>
                  <a:srgbClr val="424242"/>
                </a:solidFill>
                <a:effectLst/>
                <a:latin typeface="segoe UI" panose="020F0502020204030204" pitchFamily="34" charset="0"/>
              </a:rPr>
              <a:t>Vei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vurder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hvilke</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planprosjekter</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om</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kal</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startes</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opp</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først</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og</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i</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hvilken</a:t>
            </a:r>
            <a:r>
              <a:rPr lang="en-GB" b="0" i="0">
                <a:solidFill>
                  <a:srgbClr val="424242"/>
                </a:solidFill>
                <a:effectLst/>
                <a:latin typeface="segoe UI" panose="020F0502020204030204" pitchFamily="34" charset="0"/>
              </a:rPr>
              <a:t> </a:t>
            </a:r>
            <a:r>
              <a:rPr lang="en-GB" b="0" i="0" err="1">
                <a:solidFill>
                  <a:srgbClr val="424242"/>
                </a:solidFill>
                <a:effectLst/>
                <a:latin typeface="segoe UI" panose="020F0502020204030204" pitchFamily="34" charset="0"/>
              </a:rPr>
              <a:t>rekkefølge</a:t>
            </a:r>
            <a:r>
              <a:rPr lang="en-GB" b="0" i="0">
                <a:solidFill>
                  <a:srgbClr val="424242"/>
                </a:solidFill>
                <a:effectLst/>
                <a:latin typeface="segoe UI" panose="020F0502020204030204" pitchFamily="34" charset="0"/>
              </a:rPr>
              <a:t>.” </a:t>
            </a:r>
          </a:p>
        </p:txBody>
      </p:sp>
      <p:sp>
        <p:nvSpPr>
          <p:cNvPr id="4" name="Slide Number Placeholder 3">
            <a:extLst>
              <a:ext uri="{FF2B5EF4-FFF2-40B4-BE49-F238E27FC236}">
                <a16:creationId xmlns:a16="http://schemas.microsoft.com/office/drawing/2014/main" id="{75F0BAF6-1AB3-3AD0-9A1D-24A76104653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B34143-361C-40C3-94B4-13B607FE6EA4}"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6902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08326-D814-43B6-8292-F8410BB0D31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891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tyringsgruppe = toppledere</a:t>
            </a:r>
          </a:p>
          <a:p>
            <a:r>
              <a:rPr lang="nb-NO"/>
              <a:t>Arbeidsgruppe = kjernegruppe i Digdir</a:t>
            </a:r>
          </a:p>
          <a:p>
            <a:r>
              <a:rPr lang="nb-NO"/>
              <a:t>Koordineringsgruppe = representanter fra deltakende virksomheter</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223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Vi har intervjuet mange</a:t>
            </a:r>
          </a:p>
          <a:p>
            <a:pPr marL="171450" indent="-171450">
              <a:buFont typeface="Arial" panose="020B0604020202020204" pitchFamily="34" charset="0"/>
              <a:buChar char="•"/>
            </a:pPr>
            <a:r>
              <a:rPr lang="nb-NO" dirty="0"/>
              <a:t>Vi har snakket med alle felleskomponenteierne</a:t>
            </a:r>
          </a:p>
          <a:p>
            <a:pPr marL="171450" indent="-171450">
              <a:buFont typeface="Arial" panose="020B0604020202020204" pitchFamily="34" charset="0"/>
              <a:buChar char="•"/>
            </a:pPr>
            <a:r>
              <a:rPr lang="nb-NO" dirty="0"/>
              <a:t>Vi har snakket med svenske DIGG styrelsen for Dataforsyning og Infrastruktur</a:t>
            </a:r>
          </a:p>
          <a:p>
            <a:pPr marL="171450" indent="-171450">
              <a:buFont typeface="Arial" panose="020B0604020202020204" pitchFamily="34" charset="0"/>
              <a:buChar char="•"/>
            </a:pPr>
            <a:r>
              <a:rPr lang="nb-NO" dirty="0"/>
              <a:t>En rekke konsumenter og distributører</a:t>
            </a:r>
          </a:p>
          <a:p>
            <a:pPr marL="171450" indent="-171450">
              <a:buFont typeface="Arial" panose="020B0604020202020204" pitchFamily="34" charset="0"/>
              <a:buChar char="•"/>
            </a:pPr>
            <a:r>
              <a:rPr lang="nb-NO" dirty="0"/>
              <a:t>Og vi har muligens utviklet et konsumentperspektiv, så vet dere det</a:t>
            </a:r>
          </a:p>
          <a:p>
            <a:pPr marL="171450" indent="-171450">
              <a:buFont typeface="Arial" panose="020B0604020202020204" pitchFamily="34" charset="0"/>
              <a:buChar char="•"/>
            </a:pPr>
            <a:endParaRPr lang="nb-NO" dirty="0"/>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70581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spcBef>
                <a:spcPts val="0"/>
              </a:spcBef>
              <a:spcAft>
                <a:spcPts val="0"/>
              </a:spcAft>
              <a:buNone/>
            </a:pPr>
            <a:r>
              <a:rPr lang="nb-NO" sz="1200">
                <a:effectLst/>
                <a:latin typeface="Calibri" panose="020F0502020204030204" pitchFamily="34" charset="0"/>
              </a:rPr>
              <a:t>Brukerrelevans</a:t>
            </a:r>
            <a:endParaRPr lang="nb-NO" sz="1200">
              <a:latin typeface="Calibri" panose="020F0502020204030204" pitchFamily="34" charset="0"/>
            </a:endParaRPr>
          </a:p>
          <a:p>
            <a:pPr marL="0" marR="0" indent="0">
              <a:spcBef>
                <a:spcPts val="0"/>
              </a:spcBef>
              <a:spcAft>
                <a:spcPts val="0"/>
              </a:spcAft>
              <a:buNone/>
            </a:pPr>
            <a:r>
              <a:rPr lang="nb-NO" sz="1200">
                <a:effectLst/>
                <a:latin typeface="Calibri" panose="020F0502020204030204" pitchFamily="34" charset="0"/>
              </a:rPr>
              <a:t>Tilfredsstillende kvalitet </a:t>
            </a:r>
          </a:p>
          <a:p>
            <a:pPr marL="0" marR="0" indent="0">
              <a:spcBef>
                <a:spcPts val="0"/>
              </a:spcBef>
              <a:spcAft>
                <a:spcPts val="0"/>
              </a:spcAft>
              <a:buNone/>
            </a:pPr>
            <a:r>
              <a:rPr lang="nb-NO" sz="1200">
                <a:effectLst/>
                <a:latin typeface="Calibri" panose="020F0502020204030204" pitchFamily="34" charset="0"/>
              </a:rPr>
              <a:t>Tilgjengelighet </a:t>
            </a:r>
          </a:p>
          <a:p>
            <a:pPr marL="0" marR="0" indent="0">
              <a:spcBef>
                <a:spcPts val="0"/>
              </a:spcBef>
              <a:spcAft>
                <a:spcPts val="0"/>
              </a:spcAft>
              <a:buNone/>
            </a:pPr>
            <a:r>
              <a:rPr lang="nb-NO" sz="1200">
                <a:latin typeface="Calibri" panose="020F0502020204030204" pitchFamily="34" charset="0"/>
              </a:rPr>
              <a:t>H</a:t>
            </a:r>
            <a:r>
              <a:rPr lang="nb-NO" sz="1200">
                <a:effectLst/>
                <a:latin typeface="Calibri" panose="020F0502020204030204" pitchFamily="34" charset="0"/>
              </a:rPr>
              <a:t>ensiktsmessig regelverk</a:t>
            </a:r>
          </a:p>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2925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Konsumenter av data har i et stadig økende omfang behov for data fra en rekke tilbydere og kilder, ofte i kombinasjon med data fra ulike kilder og gjerne i kombinasjon med data fra dagens felleskompon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Det ikke bare felleskomponenter som tilbyr grunndata. Det vil si at vi får en mer desentralisert modell som trenger enkle finansieringsmodeller for dem som tilbyr grunn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Med behovet for mer data fra flere, ulike tilbydere og kilder øker også behovet for enkel, stabil tilgang til data med avklart kvalite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Forutsigbare støtteprosesser og -funksjoner for å holde kompleksitet og administrasjon på et håndterbart nivå blir også nødvendig</a:t>
            </a:r>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B37005-425A-4981-B8E9-1B570911FAF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193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Et annet utviklingstrekk er at data kan forvaltes kildenært, og utveksles direkte fra fagsystemene</a:t>
            </a:r>
          </a:p>
          <a:p>
            <a:pPr marL="171450" indent="-171450">
              <a:buFont typeface="Arial" panose="020B0604020202020204" pitchFamily="34" charset="0"/>
              <a:buChar char="•"/>
            </a:pPr>
            <a:r>
              <a:rPr lang="nb-NO" dirty="0"/>
              <a:t>Det er ikke sikkert det er hensiktsmessig at staten henter inn opplysninger til sentrale registre</a:t>
            </a:r>
          </a:p>
          <a:p>
            <a:pPr marL="171450" indent="-171450">
              <a:buFont typeface="Arial" panose="020B0604020202020204" pitchFamily="34" charset="0"/>
              <a:buChar char="•"/>
            </a:pPr>
            <a:r>
              <a:rPr lang="nb-NO" dirty="0"/>
              <a:t>I praksis så handler det om å peke på viktige data og standardisere grensesnittene</a:t>
            </a:r>
          </a:p>
          <a:p>
            <a:pPr marL="171450" indent="-171450">
              <a:buFont typeface="Arial" panose="020B0604020202020204" pitchFamily="34" charset="0"/>
              <a:buChar char="•"/>
            </a:pPr>
            <a:r>
              <a:rPr lang="nb-NO" dirty="0"/>
              <a:t>Foreløpig er dette i en startfase</a:t>
            </a:r>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B37005-425A-4981-B8E9-1B570911FAF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105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b="1" i="0" dirty="0">
                <a:solidFill>
                  <a:srgbClr val="000000"/>
                </a:solidFill>
                <a:effectLst/>
                <a:latin typeface="Calibri" panose="020F0502020204030204" pitchFamily="34" charset="0"/>
              </a:rPr>
              <a:t>Ingen helhetlig tilnærming til opplysninge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dirty="0">
                <a:solidFill>
                  <a:srgbClr val="000000"/>
                </a:solidFill>
                <a:effectLst/>
                <a:latin typeface="Calibri" panose="020F0502020204030204" pitchFamily="34" charset="0"/>
              </a:rPr>
              <a:t>Konteksten er endr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dirty="0">
                <a:solidFill>
                  <a:srgbClr val="000000"/>
                </a:solidFill>
                <a:effectLst/>
                <a:latin typeface="Calibri" panose="020F0502020204030204" pitchFamily="34" charset="0"/>
              </a:rPr>
              <a:t>Felleskildene eksisterer i et samspill med andre datakilder som fungerer som satellitter med ytterligere informasjon som er nødvendig for konsumente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dirty="0">
                <a:solidFill>
                  <a:srgbClr val="000000"/>
                </a:solidFill>
                <a:effectLst/>
                <a:latin typeface="WordVisi_MSFontService"/>
              </a:rPr>
              <a:t>Opplysningene er ikke tilgjengelige på en samordnet måte for konsumentene, selv om konsumentene ikke er opptatt av hvor opplysningene er lagret eller hvem som har ansvar for dem – de behøver bare å få et komplett sett med opplysninger på en enklest mulig måte. </a:t>
            </a:r>
            <a:endParaRPr lang="nb-NO" sz="1200" dirty="0"/>
          </a:p>
          <a:p>
            <a:pPr marL="0" indent="0">
              <a:buFont typeface="Arial" panose="020B0604020202020204" pitchFamily="34" charset="0"/>
              <a:buNone/>
            </a:pPr>
            <a:endParaRPr lang="nb-NO" sz="1200" b="1" dirty="0"/>
          </a:p>
          <a:p>
            <a:pPr marL="0" indent="0">
              <a:buFont typeface="Arial" panose="020B0604020202020204" pitchFamily="34" charset="0"/>
              <a:buNone/>
            </a:pPr>
            <a:r>
              <a:rPr lang="nb-NO" sz="1200" b="1" dirty="0"/>
              <a:t>Vanskelig å være konsument</a:t>
            </a:r>
          </a:p>
          <a:p>
            <a:pPr marL="285750" indent="-285750">
              <a:buFont typeface="Arial" panose="020B0604020202020204" pitchFamily="34" charset="0"/>
              <a:buChar char="•"/>
            </a:pPr>
            <a:r>
              <a:rPr lang="nb-NO" sz="1200" b="0" i="0" dirty="0">
                <a:solidFill>
                  <a:srgbClr val="000000"/>
                </a:solidFill>
                <a:effectLst/>
                <a:latin typeface="Calibri" panose="020F0502020204030204" pitchFamily="34" charset="0"/>
              </a:rPr>
              <a:t>Konsumentene må forholde seg til mange ulike tilbydere og datakilder for å hente opplysningene de behøver. </a:t>
            </a:r>
          </a:p>
          <a:p>
            <a:pPr marL="285750" indent="-285750">
              <a:buFont typeface="Arial" panose="020B0604020202020204" pitchFamily="34" charset="0"/>
              <a:buChar char="•"/>
            </a:pPr>
            <a:r>
              <a:rPr lang="nb-NO" sz="1200" b="0" i="0" dirty="0">
                <a:solidFill>
                  <a:srgbClr val="000000"/>
                </a:solidFill>
                <a:effectLst/>
                <a:latin typeface="Calibri" panose="020F0502020204030204" pitchFamily="34" charset="0"/>
              </a:rPr>
              <a:t>Tilbyderne har ulike rutiner og løsninger for deling og forvaltning, vurdering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dirty="0">
                <a:solidFill>
                  <a:srgbClr val="000000"/>
                </a:solidFill>
                <a:effectLst/>
                <a:latin typeface="Calibri" panose="020F0502020204030204" pitchFamily="34" charset="0"/>
              </a:rPr>
              <a:t>Det gir konsekvenser for blant annet tilganger, varslinger, feilhåndtering og teknisk oppsett. Jo flere datakilder konsumentene benytter seg av, jo mer komplekst blir dette bilde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dirty="0">
                <a:solidFill>
                  <a:srgbClr val="000000"/>
                </a:solidFill>
                <a:effectLst/>
                <a:latin typeface="Calibri" panose="020F0502020204030204" pitchFamily="34" charset="0"/>
              </a:rPr>
              <a:t>Ingen steder å rette nye behov. Hvor henvender du deg om du trenger data for eksempel til analyse?</a:t>
            </a:r>
          </a:p>
          <a:p>
            <a:pPr marL="285750" indent="-285750">
              <a:buFont typeface="Arial" panose="020B0604020202020204" pitchFamily="34" charset="0"/>
              <a:buChar char="•"/>
            </a:pPr>
            <a:r>
              <a:rPr lang="nb-NO" sz="1200" b="0" i="0" dirty="0">
                <a:solidFill>
                  <a:srgbClr val="000000"/>
                </a:solidFill>
                <a:effectLst/>
                <a:latin typeface="Calibri" panose="020F0502020204030204" pitchFamily="34" charset="0"/>
              </a:rPr>
              <a:t>Dagens situasjon er en stor belastning for konsumentene, både i påkoblingsfasen og i forvaltningen. </a:t>
            </a:r>
            <a:r>
              <a:rPr lang="nb-NO" sz="1200" b="0" i="0" strike="noStrike" dirty="0">
                <a:solidFill>
                  <a:srgbClr val="000000"/>
                </a:solidFill>
                <a:effectLst/>
                <a:latin typeface="Calibri" panose="020F0502020204030204" pitchFamily="34" charset="0"/>
              </a:rPr>
              <a:t>Samlet medfører dette at det i praksis kan være mest fornuftig for konsumentene å begrense innhentingen av opplysninger fra andre til et minimum. </a:t>
            </a:r>
          </a:p>
          <a:p>
            <a:pPr marL="0" indent="0">
              <a:buFont typeface="Arial" panose="020B0604020202020204" pitchFamily="34" charset="0"/>
              <a:buNone/>
            </a:pPr>
            <a:endParaRPr lang="nb-NO" sz="1200" b="0" i="0" dirty="0">
              <a:solidFill>
                <a:srgbClr val="000000"/>
              </a:solidFill>
              <a:effectLst/>
              <a:latin typeface="Calibri" panose="020F0502020204030204" pitchFamily="34" charset="0"/>
            </a:endParaRPr>
          </a:p>
          <a:p>
            <a:pPr marL="0" indent="0">
              <a:buFont typeface="Arial" panose="020B0604020202020204" pitchFamily="34" charset="0"/>
              <a:buNone/>
            </a:pPr>
            <a:r>
              <a:rPr lang="nb-NO" sz="1200" b="1" i="0" dirty="0">
                <a:solidFill>
                  <a:srgbClr val="000000"/>
                </a:solidFill>
                <a:effectLst/>
                <a:latin typeface="Calibri" panose="020F0502020204030204" pitchFamily="34" charset="0"/>
              </a:rPr>
              <a:t>Det er ikke så lett å være tilbyder heller! I samtalene har vi fått mange eksempler</a:t>
            </a:r>
            <a:endParaRPr lang="nb-NO" sz="1200" b="0" i="0" dirty="0">
              <a:solidFill>
                <a:srgbClr val="000000"/>
              </a:solidFill>
              <a:effectLst/>
              <a:latin typeface="Calibri" panose="020F0502020204030204" pitchFamily="34" charset="0"/>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nb-NO" sz="1200" dirty="0"/>
              <a:t>Manglende rammer til videreutvikling fordi datadeling kommer i konkurranse med interne utvikling/behov</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nb-NO" sz="1200" b="0" i="0" dirty="0">
                <a:solidFill>
                  <a:srgbClr val="000000"/>
                </a:solidFill>
                <a:effectLst/>
                <a:latin typeface="Calibri" panose="020F0502020204030204" pitchFamily="34" charset="0"/>
              </a:rPr>
              <a:t>Det er en undervurdert kompleksitet knyttet til å ivareta behovene hos konsumentene av egne tjenester </a:t>
            </a:r>
            <a:endParaRPr lang="nb-NO" sz="1200" b="1" i="0" dirty="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r>
              <a:rPr lang="nb-NO" sz="1200" b="0" i="0" strike="noStrike" dirty="0">
                <a:solidFill>
                  <a:srgbClr val="000000"/>
                </a:solidFill>
                <a:effectLst/>
                <a:latin typeface="Calibri" panose="020F0502020204030204" pitchFamily="34" charset="0"/>
              </a:rPr>
              <a:t>Det er krevende å ha en løpende forpliktelse om deling av data med andre. </a:t>
            </a:r>
          </a:p>
          <a:p>
            <a:pPr marL="285750" indent="-285750" algn="l" rtl="0" fontAlgn="base">
              <a:buFont typeface="Arial" panose="020B0604020202020204" pitchFamily="34" charset="0"/>
              <a:buChar char="•"/>
            </a:pPr>
            <a:r>
              <a:rPr lang="nb-NO" sz="1200" b="0" i="0" u="none" strike="noStrike" dirty="0">
                <a:solidFill>
                  <a:srgbClr val="D13438"/>
                </a:solidFill>
                <a:effectLst/>
                <a:latin typeface="Calibri" panose="020F0502020204030204" pitchFamily="34" charset="0"/>
              </a:rPr>
              <a:t>Dette kan være forventninger knyttet til datainnhold, struktur, kvalitet </a:t>
            </a:r>
            <a:r>
              <a:rPr lang="nb-NO" sz="1200" b="0" i="0" u="none" strike="noStrike" dirty="0" err="1">
                <a:solidFill>
                  <a:srgbClr val="D13438"/>
                </a:solidFill>
                <a:effectLst/>
                <a:latin typeface="Calibri" panose="020F0502020204030204" pitchFamily="34" charset="0"/>
              </a:rPr>
              <a:t>osv</a:t>
            </a:r>
            <a:r>
              <a:rPr lang="nb-NO" sz="1200" b="0" i="0" u="none" strike="noStrike" dirty="0">
                <a:solidFill>
                  <a:srgbClr val="D13438"/>
                </a:solidFill>
                <a:effectLst/>
                <a:latin typeface="Calibri" panose="020F0502020204030204" pitchFamily="34" charset="0"/>
              </a:rPr>
              <a:t>, eller forventninger knyttet til leveranser og ytelser, som oppetid, responstid osv. </a:t>
            </a:r>
          </a:p>
          <a:p>
            <a:pPr marL="285750" indent="-285750" algn="l" rtl="0" fontAlgn="base">
              <a:buFont typeface="Arial" panose="020B0604020202020204" pitchFamily="34" charset="0"/>
              <a:buChar char="•"/>
            </a:pPr>
            <a:r>
              <a:rPr lang="nb-NO" sz="1200" b="0" i="0" strike="noStrike" dirty="0">
                <a:solidFill>
                  <a:srgbClr val="000000"/>
                </a:solidFill>
                <a:effectLst/>
                <a:latin typeface="Calibri" panose="020F0502020204030204" pitchFamily="34" charset="0"/>
              </a:rPr>
              <a:t>Det skapes også en direkte kobling mellom egne interne prosesser opp mot eksterne verdikjeder og økosystem, hvor andre virksomheter er avhengige av tilgang til dine data til enhver tid. </a:t>
            </a:r>
          </a:p>
          <a:p>
            <a:pPr marL="285750" indent="-285750" algn="l" rtl="0" fontAlgn="base">
              <a:buFont typeface="Arial" panose="020B0604020202020204" pitchFamily="34" charset="0"/>
              <a:buChar char="•"/>
            </a:pPr>
            <a:r>
              <a:rPr lang="nb-NO" sz="1200" b="0" i="0" strike="noStrike" dirty="0">
                <a:solidFill>
                  <a:srgbClr val="000000"/>
                </a:solidFill>
                <a:effectLst/>
                <a:latin typeface="Calibri" panose="020F0502020204030204" pitchFamily="34" charset="0"/>
              </a:rPr>
              <a:t>Det er en selvfølge at tilbyderne har god oversikt over og beskrivelse av egne data («orden i eget hus»), men i tillegg forventes det at man har oversikt over hvilke data man deler som andre er avhengige av. </a:t>
            </a:r>
          </a:p>
          <a:p>
            <a:pPr marL="285750" indent="-285750" algn="l" rtl="0" fontAlgn="base">
              <a:buFont typeface="Arial" panose="020B0604020202020204" pitchFamily="34" charset="0"/>
              <a:buChar char="•"/>
            </a:pPr>
            <a:r>
              <a:rPr lang="nb-NO" sz="1200" b="0" i="0" strike="noStrike" dirty="0">
                <a:solidFill>
                  <a:srgbClr val="000000"/>
                </a:solidFill>
                <a:effectLst/>
                <a:latin typeface="Calibri" panose="020F0502020204030204" pitchFamily="34" charset="0"/>
              </a:rPr>
              <a:t>Det er en undervurdert kompleksitet knyttet til å ivareta behovene hos konsumentene av egne tjenester </a:t>
            </a:r>
          </a:p>
          <a:p>
            <a:pPr marL="285750" indent="-285750" algn="l" rtl="0" fontAlgn="base">
              <a:buFont typeface="Arial" panose="020B0604020202020204" pitchFamily="34" charset="0"/>
              <a:buChar char="•"/>
            </a:pPr>
            <a:r>
              <a:rPr lang="nb-NO" sz="1200" b="0" i="0" strike="noStrike" dirty="0">
                <a:solidFill>
                  <a:srgbClr val="000000"/>
                </a:solidFill>
                <a:effectLst/>
                <a:latin typeface="Calibri" panose="020F0502020204030204" pitchFamily="34" charset="0"/>
              </a:rPr>
              <a:t>Det blir nødvendig å bygge kompetanse og kapasitet på å følge opp deling etter som den blir driftskritisk for andre virksomheter. Feil som ikke har stor betydning for egen virksomhet kan få store og umiddelbare konsekvenser for andre virksomheter og deres brukere. Endringshåndtering blir mer krevende, og tilbydere har problemer   med å sanere gamle løsninger som konsumentene har gjort seg avhengige av.</a:t>
            </a:r>
            <a:endParaRPr lang="nb-NO" sz="1200" b="0" i="0" strike="noStrike" dirty="0">
              <a:solidFill>
                <a:srgbClr val="000000"/>
              </a:solidFill>
              <a:effectLst/>
              <a:latin typeface="Segoe UI" panose="020B0502040204020203" pitchFamily="34" charset="0"/>
            </a:endParaRPr>
          </a:p>
          <a:p>
            <a:pPr marL="0" indent="0">
              <a:buFont typeface="Arial" panose="020B0604020202020204" pitchFamily="34" charset="0"/>
              <a:buNone/>
            </a:pPr>
            <a:endParaRPr lang="nb-NO" sz="1200" b="1" dirty="0"/>
          </a:p>
          <a:p>
            <a:r>
              <a:rPr lang="nb-NO" sz="1200" b="1" dirty="0"/>
              <a:t>Datakvalit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dirty="0"/>
              <a:t>Det går med masse ressurser på å kompensere for manglende datakvalit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dirty="0"/>
              <a:t>Kan føre til at videre automatisering blir krevevende, og at det sammenhengende tjenester blir unødvendig komplisert, eller ikke mulig i det hele tatt, og vi mangler et godt grunnlag for fremtidige dataanalyser</a:t>
            </a:r>
            <a:endParaRPr lang="nb-NO" sz="1200"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dirty="0"/>
              <a:t>I verste fall kan feil i data få store konsekvenser når vi bruker dem til beslutningene og avgjørelsene vi tar. </a:t>
            </a:r>
            <a:r>
              <a:rPr lang="nb-NO" sz="1200" b="0" strike="noStrike" dirty="0"/>
              <a:t>Tenk for eksempel på hvordan feil i data kan forplante seg og for når disse dataene brukes inn i saksbehandling, som er automatisert og som gjentas gang på gang med feil i dataene, eller når geodata blir brukt som grunnlag i en krisesituasj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strike="noStrike" dirty="0"/>
          </a:p>
          <a:p>
            <a:pPr marL="171450" indent="-171450">
              <a:buFont typeface="Arial" panose="020B0604020202020204" pitchFamily="34" charset="0"/>
              <a:buChar char="•"/>
            </a:pPr>
            <a:r>
              <a:rPr lang="nb-NO" sz="1200" b="0" strike="noStrike" dirty="0"/>
              <a:t>Det mangler reel ansvarsplassering og oppdateringssløyfer/mekanismer for data. </a:t>
            </a:r>
          </a:p>
          <a:p>
            <a:pPr marL="171450" indent="-171450">
              <a:buFont typeface="Arial" panose="020B0604020202020204" pitchFamily="34" charset="0"/>
              <a:buChar char="•"/>
            </a:pPr>
            <a:r>
              <a:rPr lang="nb-NO" sz="1200" b="0" strike="noStrike" dirty="0"/>
              <a:t>Ofte blir datakvaliteten hevet flere ganger, uten at det kommer tilbake til kilden.</a:t>
            </a:r>
          </a:p>
          <a:p>
            <a:pPr marL="171450" indent="-171450">
              <a:buFont typeface="Arial" panose="020B0604020202020204" pitchFamily="34" charset="0"/>
              <a:buChar char="•"/>
            </a:pPr>
            <a:r>
              <a:rPr lang="nb-NO" sz="1200" b="0" strike="noStrike" dirty="0"/>
              <a:t>Det fører til lav tillit til andres data, usikkerhet om hvilke data som er autoritative og vedlikeholdt. </a:t>
            </a:r>
          </a:p>
          <a:p>
            <a:pPr marL="171450" indent="-171450">
              <a:buFont typeface="Arial" panose="020B0604020202020204" pitchFamily="34" charset="0"/>
              <a:buChar char="•"/>
            </a:pPr>
            <a:endParaRPr lang="nb-NO" sz="1200" b="0" dirty="0"/>
          </a:p>
          <a:p>
            <a:pPr marL="0" indent="0">
              <a:buFont typeface="Arial" panose="020B0604020202020204" pitchFamily="34" charset="0"/>
              <a:buNone/>
            </a:pPr>
            <a:r>
              <a:rPr lang="nb-NO" sz="1200" b="1" dirty="0" err="1"/>
              <a:t>Skalerbarhet</a:t>
            </a:r>
            <a:r>
              <a:rPr lang="nb-NO" sz="1200" b="1" dirty="0"/>
              <a:t> og kritikalitet</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nb-NO" sz="1200" dirty="0">
                <a:effectLst/>
                <a:latin typeface="Calibri" panose="020F0502020204030204" pitchFamily="34" charset="0"/>
                <a:ea typeface="Calibri" panose="020F0502020204030204" pitchFamily="34" charset="0"/>
                <a:cs typeface="Arial" panose="020B0604020202020204" pitchFamily="34" charset="0"/>
              </a:rPr>
              <a:t>Dagens tilnærming skalerer ikke forretningsmessig. Vi bygger stadig flere tjenester og funksjoner som baserer seg på bruk av opplysninger fra andre, og det begynner å haste.</a:t>
            </a:r>
          </a:p>
          <a:p>
            <a:pPr marL="285750" indent="-285750">
              <a:lnSpc>
                <a:spcPct val="107000"/>
              </a:lnSpc>
              <a:spcAft>
                <a:spcPts val="800"/>
              </a:spcAft>
              <a:buFont typeface="Arial" panose="020B0604020202020204" pitchFamily="34" charset="0"/>
              <a:buChar char="•"/>
            </a:pPr>
            <a:r>
              <a:rPr lang="nb-NO" sz="1200" strike="noStrike" dirty="0">
                <a:effectLst/>
                <a:latin typeface="Calibri" panose="020F0502020204030204" pitchFamily="34" charset="0"/>
                <a:ea typeface="Calibri" panose="020F0502020204030204" pitchFamily="34" charset="0"/>
                <a:cs typeface="Arial" panose="020B0604020202020204" pitchFamily="34" charset="0"/>
              </a:rPr>
              <a:t>De nye kravene fra EU forventes å innebære krav til oppstramming og etablering av nye roller og strukturer, på samme måte som når GDPR ble innført. </a:t>
            </a:r>
          </a:p>
          <a:p>
            <a:pPr marL="0" indent="0">
              <a:lnSpc>
                <a:spcPct val="107000"/>
              </a:lnSpc>
              <a:spcAft>
                <a:spcPts val="800"/>
              </a:spcAft>
              <a:buFont typeface="Arial" panose="020B0604020202020204" pitchFamily="34" charset="0"/>
              <a:buNone/>
            </a:pP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nb-NO" sz="1200" b="1" i="0" u="none" strike="noStrike" kern="1200" cap="none" spc="0" normalizeH="0" baseline="0" noProof="0" dirty="0">
                <a:ln>
                  <a:noFill/>
                </a:ln>
                <a:solidFill>
                  <a:prstClr val="white"/>
                </a:solidFill>
                <a:effectLst/>
                <a:uLnTx/>
                <a:uFillTx/>
                <a:latin typeface="Calibri" panose="020F0502020204030204"/>
                <a:ea typeface="+mn-ea"/>
                <a:cs typeface="+mn-cs"/>
              </a:rPr>
              <a:t>Fravær av overordnet styring, roller og ansvar</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white"/>
                </a:solidFill>
                <a:effectLst/>
                <a:uLnTx/>
                <a:uFillTx/>
                <a:latin typeface="Calibri" panose="020F0502020204030204"/>
                <a:ea typeface="+mn-ea"/>
                <a:cs typeface="+mn-cs"/>
              </a:rPr>
              <a:t>Vi ser at mange av utfordringene  peker tilbake til manglende overordnet styring, roller og ansvar</a:t>
            </a: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kumimoji="0" lang="nb-NO" sz="1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endParaRPr kumimoji="0" lang="nb-NO" sz="1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indent="0">
              <a:lnSpc>
                <a:spcPct val="107000"/>
              </a:lnSpc>
              <a:spcAft>
                <a:spcPts val="800"/>
              </a:spcAft>
              <a:buFont typeface="Arial" panose="020B0604020202020204" pitchFamily="34" charset="0"/>
              <a:buNone/>
            </a:pP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marL="0" indent="0">
              <a:lnSpc>
                <a:spcPct val="107000"/>
              </a:lnSpc>
              <a:spcAft>
                <a:spcPts val="800"/>
              </a:spcAft>
              <a:buFont typeface="Arial" panose="020B0604020202020204" pitchFamily="34" charset="0"/>
              <a:buNone/>
            </a:pP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marL="0" indent="0">
              <a:buFont typeface="Arial" panose="020B0604020202020204" pitchFamily="34" charset="0"/>
              <a:buNone/>
            </a:pPr>
            <a:endParaRPr lang="nb-NO" sz="1200" b="1" dirty="0"/>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08326-D814-43B6-8292-F8410BB0D31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38349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g"/></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g"/></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2.xml"/><Relationship Id="rId1" Type="http://schemas.openxmlformats.org/officeDocument/2006/relationships/tags" Target="../tags/tag3.xml"/><Relationship Id="rId5" Type="http://schemas.openxmlformats.org/officeDocument/2006/relationships/image" Target="../media/image30.png"/><Relationship Id="rId4" Type="http://schemas.openxmlformats.org/officeDocument/2006/relationships/image" Target="../media/image29.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2.xml"/><Relationship Id="rId1" Type="http://schemas.openxmlformats.org/officeDocument/2006/relationships/tags" Target="../tags/tag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emf"/></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5.xml"/><Relationship Id="rId5" Type="http://schemas.openxmlformats.org/officeDocument/2006/relationships/image" Target="../media/image30.png"/><Relationship Id="rId4" Type="http://schemas.openxmlformats.org/officeDocument/2006/relationships/image" Target="../media/image29.emf"/></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png"/><Relationship Id="rId4" Type="http://schemas.openxmlformats.org/officeDocument/2006/relationships/image" Target="../media/image17.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png"/><Relationship Id="rId4" Type="http://schemas.openxmlformats.org/officeDocument/2006/relationships/image" Target="../media/image18.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png"/><Relationship Id="rId4" Type="http://schemas.openxmlformats.org/officeDocument/2006/relationships/image" Target="../media/image19.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6.mp4"/><Relationship Id="rId1" Type="http://schemas.microsoft.com/office/2007/relationships/media" Target="../media/media6.mp4"/><Relationship Id="rId5" Type="http://schemas.openxmlformats.org/officeDocument/2006/relationships/image" Target="../media/image1.png"/><Relationship Id="rId4" Type="http://schemas.openxmlformats.org/officeDocument/2006/relationships/image" Target="../media/image20.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png"/><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png"/><Relationship Id="rId4" Type="http://schemas.openxmlformats.org/officeDocument/2006/relationships/image" Target="../media/image22.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9.mp4"/><Relationship Id="rId1" Type="http://schemas.microsoft.com/office/2007/relationships/media" Target="../media/media9.mp4"/><Relationship Id="rId5" Type="http://schemas.openxmlformats.org/officeDocument/2006/relationships/image" Target="../media/image1.png"/><Relationship Id="rId4" Type="http://schemas.openxmlformats.org/officeDocument/2006/relationships/image" Target="../media/image23.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0.mp4"/><Relationship Id="rId1" Type="http://schemas.microsoft.com/office/2007/relationships/media" Target="../media/media10.mp4"/><Relationship Id="rId5" Type="http://schemas.openxmlformats.org/officeDocument/2006/relationships/image" Target="../media/image1.png"/><Relationship Id="rId4" Type="http://schemas.openxmlformats.org/officeDocument/2006/relationships/image" Target="../media/image2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1.mp4"/><Relationship Id="rId1" Type="http://schemas.microsoft.com/office/2007/relationships/media" Target="../media/media11.mp4"/><Relationship Id="rId5" Type="http://schemas.openxmlformats.org/officeDocument/2006/relationships/image" Target="../media/image1.png"/><Relationship Id="rId4" Type="http://schemas.openxmlformats.org/officeDocument/2006/relationships/image" Target="../media/image25.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png"/><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png"/><Relationship Id="rId4" Type="http://schemas.openxmlformats.org/officeDocument/2006/relationships/image" Target="../media/image18.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png"/><Relationship Id="rId4" Type="http://schemas.openxmlformats.org/officeDocument/2006/relationships/image" Target="../media/image19.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6.mp4"/><Relationship Id="rId1" Type="http://schemas.microsoft.com/office/2007/relationships/media" Target="../media/media6.mp4"/><Relationship Id="rId5" Type="http://schemas.openxmlformats.org/officeDocument/2006/relationships/image" Target="../media/image1.png"/><Relationship Id="rId4" Type="http://schemas.openxmlformats.org/officeDocument/2006/relationships/image" Target="../media/image20.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png"/><Relationship Id="rId4"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png"/><Relationship Id="rId4" Type="http://schemas.openxmlformats.org/officeDocument/2006/relationships/image" Target="../media/image22.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9.mp4"/><Relationship Id="rId1" Type="http://schemas.microsoft.com/office/2007/relationships/media" Target="../media/media9.mp4"/><Relationship Id="rId5" Type="http://schemas.openxmlformats.org/officeDocument/2006/relationships/image" Target="../media/image1.png"/><Relationship Id="rId4" Type="http://schemas.openxmlformats.org/officeDocument/2006/relationships/image" Target="../media/image23.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0.mp4"/><Relationship Id="rId1" Type="http://schemas.microsoft.com/office/2007/relationships/media" Target="../media/media10.mp4"/><Relationship Id="rId5" Type="http://schemas.openxmlformats.org/officeDocument/2006/relationships/image" Target="../media/image1.png"/><Relationship Id="rId4" Type="http://schemas.openxmlformats.org/officeDocument/2006/relationships/image" Target="../media/image24.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1.mp4"/><Relationship Id="rId1" Type="http://schemas.microsoft.com/office/2007/relationships/media" Target="../media/media11.mp4"/><Relationship Id="rId5" Type="http://schemas.openxmlformats.org/officeDocument/2006/relationships/image" Target="../media/image1.png"/><Relationship Id="rId4" Type="http://schemas.openxmlformats.org/officeDocument/2006/relationships/image" Target="../media/image2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7.xml"/><Relationship Id="rId4" Type="http://schemas.openxmlformats.org/officeDocument/2006/relationships/image" Target="../media/image27.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 Id="rId5" Type="http://schemas.openxmlformats.org/officeDocument/2006/relationships/image" Target="../media/image1.png"/><Relationship Id="rId4" Type="http://schemas.openxmlformats.org/officeDocument/2006/relationships/image" Target="../media/image28.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1587" y="0"/>
            <a:ext cx="16256000" cy="9144000"/>
          </a:xfrm>
          <a:prstGeom prst="rect">
            <a:avLst/>
          </a:prstGeom>
        </p:spPr>
      </p:pic>
    </p:spTree>
    <p:extLst>
      <p:ext uri="{BB962C8B-B14F-4D97-AF65-F5344CB8AC3E}">
        <p14:creationId xmlns:p14="http://schemas.microsoft.com/office/powerpoint/2010/main" val="2955385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endParaRPr lang="nb-NO" dirty="0"/>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437657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Digdir Introslide #5">
    <p:bg>
      <p:bgPr>
        <a:solidFill>
          <a:schemeClr val="l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207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Digdir Introslide #7">
    <p:bg>
      <p:bgPr>
        <a:solidFill>
          <a:schemeClr val="l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6439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1587" y="0"/>
            <a:ext cx="16256000" cy="9144000"/>
          </a:xfrm>
          <a:prstGeom prst="rect">
            <a:avLst/>
          </a:prstGeom>
        </p:spPr>
      </p:pic>
    </p:spTree>
    <p:extLst>
      <p:ext uri="{BB962C8B-B14F-4D97-AF65-F5344CB8AC3E}">
        <p14:creationId xmlns:p14="http://schemas.microsoft.com/office/powerpoint/2010/main" val="1816022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Tree>
    <p:extLst>
      <p:ext uri="{BB962C8B-B14F-4D97-AF65-F5344CB8AC3E}">
        <p14:creationId xmlns:p14="http://schemas.microsoft.com/office/powerpoint/2010/main" val="28515033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pic>
        <p:nvPicPr>
          <p:cNvPr id="17" name="Bilde 16">
            <a:extLst>
              <a:ext uri="{FF2B5EF4-FFF2-40B4-BE49-F238E27FC236}">
                <a16:creationId xmlns:a16="http://schemas.microsoft.com/office/drawing/2014/main" id="{511E4814-F717-4C61-A710-7E70E4ACD4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
        <p:nvSpPr>
          <p:cNvPr id="21" name="TextBox 6">
            <a:extLst>
              <a:ext uri="{FF2B5EF4-FFF2-40B4-BE49-F238E27FC236}">
                <a16:creationId xmlns:a16="http://schemas.microsoft.com/office/drawing/2014/main" id="{1F4A38C3-D8E7-404C-9494-8A3CD442BE93}"/>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23112628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tx2"/>
                </a:solidFill>
              </a:defRPr>
            </a:lvl1pPr>
          </a:lstStyle>
          <a:p>
            <a:r>
              <a:rPr lang="nb-NO"/>
              <a:t>Klikk for å redigere tittelstil</a:t>
            </a:r>
          </a:p>
        </p:txBody>
      </p:sp>
      <p:pic>
        <p:nvPicPr>
          <p:cNvPr id="8" name="Bilde 7">
            <a:extLst>
              <a:ext uri="{FF2B5EF4-FFF2-40B4-BE49-F238E27FC236}">
                <a16:creationId xmlns:a16="http://schemas.microsoft.com/office/drawing/2014/main" id="{E5FE4CE4-134D-4788-A6F4-BC91B10574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
        <p:nvSpPr>
          <p:cNvPr id="13" name="TextBox 6">
            <a:extLst>
              <a:ext uri="{FF2B5EF4-FFF2-40B4-BE49-F238E27FC236}">
                <a16:creationId xmlns:a16="http://schemas.microsoft.com/office/drawing/2014/main" id="{57D81D62-A055-4B15-80BD-929468DE16B6}"/>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6184973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281E3279-D715-4827-9A13-05F2C36B5E51}"/>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57F43DFE-C8AB-4A89-875F-908F84F621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Tree>
    <p:extLst>
      <p:ext uri="{BB962C8B-B14F-4D97-AF65-F5344CB8AC3E}">
        <p14:creationId xmlns:p14="http://schemas.microsoft.com/office/powerpoint/2010/main" val="1262889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accent1"/>
                </a:solidFill>
              </a:defRPr>
            </a:lvl1pPr>
          </a:lstStyle>
          <a:p>
            <a:r>
              <a:rPr lang="nb-NO"/>
              <a:t>Klikk for å redigere tittelstil</a:t>
            </a:r>
          </a:p>
        </p:txBody>
      </p:sp>
      <p:sp>
        <p:nvSpPr>
          <p:cNvPr id="7" name="TextBox 6">
            <a:extLst>
              <a:ext uri="{FF2B5EF4-FFF2-40B4-BE49-F238E27FC236}">
                <a16:creationId xmlns:a16="http://schemas.microsoft.com/office/drawing/2014/main" id="{F2BBDBD0-71F1-4AEB-9367-24166E6A24AD}"/>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BCAC403A-A759-4525-ACE7-2FACC03B96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Tree>
    <p:extLst>
      <p:ext uri="{BB962C8B-B14F-4D97-AF65-F5344CB8AC3E}">
        <p14:creationId xmlns:p14="http://schemas.microsoft.com/office/powerpoint/2010/main" val="1659330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Tree>
    <p:extLst>
      <p:ext uri="{BB962C8B-B14F-4D97-AF65-F5344CB8AC3E}">
        <p14:creationId xmlns:p14="http://schemas.microsoft.com/office/powerpoint/2010/main" val="36586659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accent1"/>
                </a:solidFill>
              </a:defRPr>
            </a:lvl1pPr>
          </a:lstStyle>
          <a:p>
            <a:r>
              <a:rPr lang="nb-NO"/>
              <a:t>Klikk for å redigere tittelstil</a:t>
            </a:r>
          </a:p>
        </p:txBody>
      </p:sp>
      <p:sp>
        <p:nvSpPr>
          <p:cNvPr id="6" name="TextBox 6">
            <a:extLst>
              <a:ext uri="{FF2B5EF4-FFF2-40B4-BE49-F238E27FC236}">
                <a16:creationId xmlns:a16="http://schemas.microsoft.com/office/drawing/2014/main" id="{4BDA1AFF-68C0-4650-8E52-6263233596B5}"/>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7" name="Bilde 6">
            <a:extLst>
              <a:ext uri="{FF2B5EF4-FFF2-40B4-BE49-F238E27FC236}">
                <a16:creationId xmlns:a16="http://schemas.microsoft.com/office/drawing/2014/main" id="{F730FB02-9270-497B-BF5B-66B5BB7B62A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Tree>
    <p:extLst>
      <p:ext uri="{BB962C8B-B14F-4D97-AF65-F5344CB8AC3E}">
        <p14:creationId xmlns:p14="http://schemas.microsoft.com/office/powerpoint/2010/main" val="2420663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endParaRPr lang="nb-NO" dirty="0"/>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1211206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Tree>
    <p:extLst>
      <p:ext uri="{BB962C8B-B14F-4D97-AF65-F5344CB8AC3E}">
        <p14:creationId xmlns:p14="http://schemas.microsoft.com/office/powerpoint/2010/main" val="552394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Tree>
    <p:extLst>
      <p:ext uri="{BB962C8B-B14F-4D97-AF65-F5344CB8AC3E}">
        <p14:creationId xmlns:p14="http://schemas.microsoft.com/office/powerpoint/2010/main" val="1770158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Tree>
    <p:extLst>
      <p:ext uri="{BB962C8B-B14F-4D97-AF65-F5344CB8AC3E}">
        <p14:creationId xmlns:p14="http://schemas.microsoft.com/office/powerpoint/2010/main" val="2615897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4" name="Plassholder for tittel 1">
            <a:extLst>
              <a:ext uri="{FF2B5EF4-FFF2-40B4-BE49-F238E27FC236}">
                <a16:creationId xmlns:a16="http://schemas.microsoft.com/office/drawing/2014/main" id="{F2028190-9615-4857-9215-8E91FE761645}"/>
              </a:ext>
            </a:extLst>
          </p:cNvPr>
          <p:cNvSpPr>
            <a:spLocks noGrp="1"/>
          </p:cNvSpPr>
          <p:nvPr>
            <p:ph type="title"/>
          </p:nvPr>
        </p:nvSpPr>
        <p:spPr>
          <a:xfrm>
            <a:off x="2364233" y="1480957"/>
            <a:ext cx="12295197" cy="692497"/>
          </a:xfrm>
          <a:prstGeom prst="rect">
            <a:avLst/>
          </a:prstGeom>
        </p:spPr>
        <p:txBody>
          <a:bodyPr vert="horz" lIns="0" tIns="0" rIns="0" bIns="0" rtlCol="0" anchor="b" anchorCtr="0">
            <a:noAutofit/>
          </a:bodyPr>
          <a:lstStyle/>
          <a:p>
            <a:r>
              <a:rPr lang="nb-NO"/>
              <a:t>Klikk for å redigere tittelstil</a:t>
            </a:r>
          </a:p>
        </p:txBody>
      </p:sp>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2364233" y="2453732"/>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80817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2364230" y="2510971"/>
            <a:ext cx="5977406" cy="5776687"/>
          </a:xfrm>
          <a:prstGeom prst="rect">
            <a:avLst/>
          </a:prstGeo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8682023" y="2510971"/>
            <a:ext cx="5977406" cy="5776687"/>
          </a:xfrm>
          <a:prstGeom prst="rect">
            <a:avLst/>
          </a:prstGeo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p:nvPr>
        </p:nvSpPr>
        <p:spPr>
          <a:xfrm>
            <a:off x="2364233" y="1480957"/>
            <a:ext cx="12295197" cy="692497"/>
          </a:xfrm>
          <a:prstGeom prst="rect">
            <a:avLst/>
          </a:prstGeom>
        </p:spPr>
        <p:txBody>
          <a:bodyPr vert="horz" lIns="0" tIns="0" rIns="0" bIns="0" rtlCol="0" anchor="b" anchorCtr="0">
            <a:noAutofit/>
          </a:bodyPr>
          <a:lstStyle/>
          <a:p>
            <a:r>
              <a:rPr lang="nb-NO"/>
              <a:t>Klikk for å redigere tittelstil</a:t>
            </a:r>
          </a:p>
        </p:txBody>
      </p:sp>
    </p:spTree>
    <p:extLst>
      <p:ext uri="{BB962C8B-B14F-4D97-AF65-F5344CB8AC3E}">
        <p14:creationId xmlns:p14="http://schemas.microsoft.com/office/powerpoint/2010/main" val="13528960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1" y="2"/>
            <a:ext cx="16256033" cy="9145143"/>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Tree>
    <p:extLst>
      <p:ext uri="{BB962C8B-B14F-4D97-AF65-F5344CB8AC3E}">
        <p14:creationId xmlns:p14="http://schemas.microsoft.com/office/powerpoint/2010/main" val="10770314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1" y="1"/>
            <a:ext cx="16256033" cy="4572572"/>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2364232" y="5309937"/>
            <a:ext cx="12295196" cy="2971097"/>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16277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userDrawn="1"/>
        </p:nvSpPr>
        <p:spPr>
          <a:xfrm>
            <a:off x="1944914" y="101601"/>
            <a:ext cx="13628915" cy="10740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8124598" y="2"/>
            <a:ext cx="8129816" cy="9145143"/>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1590" y="566057"/>
            <a:ext cx="6480810" cy="8049032"/>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67688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userDrawn="1"/>
        </p:nvSpPr>
        <p:spPr>
          <a:xfrm>
            <a:off x="1306286" y="130630"/>
            <a:ext cx="14557828" cy="19158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2573"/>
            <a:ext cx="8129816" cy="4571428"/>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338379"/>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1"/>
            <a:ext cx="8124596" cy="4572572"/>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6" y="4856072"/>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044231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ataside">
    <p:spTree>
      <p:nvGrpSpPr>
        <p:cNvPr id="1" name=""/>
        <p:cNvGrpSpPr/>
        <p:nvPr/>
      </p:nvGrpSpPr>
      <p:grpSpPr>
        <a:xfrm>
          <a:off x="0" y="0"/>
          <a:ext cx="0" cy="0"/>
          <a:chOff x="0" y="0"/>
          <a:chExt cx="0" cy="0"/>
        </a:xfrm>
      </p:grpSpPr>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2365830" y="900112"/>
            <a:ext cx="11771736" cy="7532689"/>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70136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4" name="Plassholder for tittel 1">
            <a:extLst>
              <a:ext uri="{FF2B5EF4-FFF2-40B4-BE49-F238E27FC236}">
                <a16:creationId xmlns:a16="http://schemas.microsoft.com/office/drawing/2014/main" id="{F2028190-9615-4857-9215-8E91FE761645}"/>
              </a:ext>
            </a:extLst>
          </p:cNvPr>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endParaRPr lang="nb-NO" dirty="0"/>
          </a:p>
        </p:txBody>
      </p:sp>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2125582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8"/>
            <a:ext cx="16254413" cy="9141965"/>
          </a:xfrm>
          <a:prstGeom prst="rect">
            <a:avLst/>
          </a:prstGeom>
        </p:spPr>
      </p:pic>
      <p:sp>
        <p:nvSpPr>
          <p:cNvPr id="6" name="Tittel 1"/>
          <p:cNvSpPr>
            <a:spLocks noGrp="1"/>
          </p:cNvSpPr>
          <p:nvPr>
            <p:ph type="title"/>
          </p:nvPr>
        </p:nvSpPr>
        <p:spPr>
          <a:xfrm>
            <a:off x="2365964" y="3681199"/>
            <a:ext cx="6120080" cy="1419611"/>
          </a:xfrm>
          <a:prstGeom prst="rect">
            <a:avLst/>
          </a:prstGeom>
        </p:spPr>
        <p:txBody>
          <a:bodyPr/>
          <a:lstStyle>
            <a:lvl1pPr>
              <a:defRPr>
                <a:solidFill>
                  <a:schemeClr val="bg1"/>
                </a:solidFill>
              </a:defRPr>
            </a:lvl1pPr>
          </a:lstStyle>
          <a:p>
            <a:r>
              <a:rPr lang="nb-NO"/>
              <a:t>Klikk for å redigere tittelstil</a:t>
            </a:r>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5964" y="600107"/>
            <a:ext cx="439149" cy="440948"/>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576423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8"/>
            <a:ext cx="16254413" cy="9141965"/>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7207" y="4295661"/>
            <a:ext cx="1489437" cy="1495540"/>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userDrawn="1"/>
        </p:nvSpPr>
        <p:spPr>
          <a:xfrm>
            <a:off x="8054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Digitaliseringsdirektoratet</a:t>
            </a:r>
          </a:p>
          <a:p>
            <a:pPr>
              <a:lnSpc>
                <a:spcPct val="150000"/>
              </a:lnSpc>
              <a:spcBef>
                <a:spcPts val="0"/>
              </a:spcBef>
            </a:pPr>
            <a:r>
              <a:rPr lang="nb-NO" sz="1200" b="0">
                <a:solidFill>
                  <a:schemeClr val="bg1"/>
                </a:solidFill>
              </a:rPr>
              <a:t>postmottak@digdir.no</a:t>
            </a:r>
          </a:p>
          <a:p>
            <a:pPr>
              <a:lnSpc>
                <a:spcPct val="150000"/>
              </a:lnSpc>
              <a:spcBef>
                <a:spcPts val="0"/>
              </a:spcBef>
            </a:pPr>
            <a:r>
              <a:rPr lang="nb-NO" sz="1200" b="0">
                <a:solidFill>
                  <a:schemeClr val="bg1"/>
                </a:solidFill>
              </a:rPr>
              <a:t>22 45 10 00</a:t>
            </a:r>
          </a:p>
          <a:p>
            <a:pPr>
              <a:lnSpc>
                <a:spcPct val="150000"/>
              </a:lnSpc>
              <a:spcBef>
                <a:spcPts val="0"/>
              </a:spcBef>
            </a:pPr>
            <a:r>
              <a:rPr lang="nb-NO" sz="1200"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userDrawn="1"/>
        </p:nvSpPr>
        <p:spPr>
          <a:xfrm>
            <a:off x="11102543" y="7302501"/>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Besøksadresser:</a:t>
            </a:r>
          </a:p>
          <a:p>
            <a:pPr>
              <a:lnSpc>
                <a:spcPct val="150000"/>
              </a:lnSpc>
              <a:spcBef>
                <a:spcPts val="0"/>
              </a:spcBef>
            </a:pPr>
            <a:r>
              <a:rPr lang="nb-NO" sz="1200" b="0">
                <a:solidFill>
                  <a:schemeClr val="bg1"/>
                </a:solidFill>
              </a:rPr>
              <a:t>Havnegata 48, 8900 Brønnøysund</a:t>
            </a:r>
          </a:p>
          <a:p>
            <a:pPr>
              <a:lnSpc>
                <a:spcPct val="150000"/>
              </a:lnSpc>
              <a:spcBef>
                <a:spcPts val="0"/>
              </a:spcBef>
            </a:pPr>
            <a:r>
              <a:rPr lang="nb-NO" sz="1200" b="0">
                <a:solidFill>
                  <a:schemeClr val="bg1"/>
                </a:solidFill>
              </a:rPr>
              <a:t>Skrivarvegen 2, 6863 Leikanger</a:t>
            </a:r>
          </a:p>
          <a:p>
            <a:pPr>
              <a:lnSpc>
                <a:spcPct val="150000"/>
              </a:lnSpc>
              <a:spcBef>
                <a:spcPts val="0"/>
              </a:spcBef>
            </a:pPr>
            <a:r>
              <a:rPr lang="nb-NO" sz="1200" b="0">
                <a:solidFill>
                  <a:schemeClr val="bg1"/>
                </a:solidFill>
              </a:rPr>
              <a:t>Lørenfaret 1C, 0580 Oslo</a:t>
            </a:r>
          </a:p>
        </p:txBody>
      </p:sp>
    </p:spTree>
    <p:extLst>
      <p:ext uri="{BB962C8B-B14F-4D97-AF65-F5344CB8AC3E}">
        <p14:creationId xmlns:p14="http://schemas.microsoft.com/office/powerpoint/2010/main" val="3698948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CB9908C-C8BF-E892-D10F-CBC1FFE6A2AD}"/>
              </a:ext>
            </a:extLst>
          </p:cNvPr>
          <p:cNvSpPr>
            <a:spLocks noGrp="1"/>
          </p:cNvSpPr>
          <p:nvPr>
            <p:ph type="title" hasCustomPrompt="1"/>
          </p:nvPr>
        </p:nvSpPr>
        <p:spPr/>
        <p:txBody>
          <a:bodyPr lIns="0" tIns="0" rIns="0" bIns="0"/>
          <a:lstStyle/>
          <a:p>
            <a:r>
              <a:rPr lang="nb-NO"/>
              <a:t>Heading på én linje</a:t>
            </a:r>
          </a:p>
        </p:txBody>
      </p:sp>
      <p:sp>
        <p:nvSpPr>
          <p:cNvPr id="3" name="Plassholder for innhold 2">
            <a:extLst>
              <a:ext uri="{FF2B5EF4-FFF2-40B4-BE49-F238E27FC236}">
                <a16:creationId xmlns:a16="http://schemas.microsoft.com/office/drawing/2014/main" id="{70F5E9ED-55F9-8D3D-888E-89ACB370F247}"/>
              </a:ext>
            </a:extLst>
          </p:cNvPr>
          <p:cNvSpPr>
            <a:spLocks noGrp="1"/>
          </p:cNvSpPr>
          <p:nvPr>
            <p:ph idx="1"/>
          </p:nvPr>
        </p:nvSpPr>
        <p:spPr/>
        <p:txBody>
          <a:bodyPr lIns="0" tIns="0" rIns="0" bIns="0"/>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3ADF8606-3540-B27A-A9AB-8E8D7253CBD1}"/>
              </a:ext>
            </a:extLst>
          </p:cNvPr>
          <p:cNvSpPr>
            <a:spLocks noGrp="1"/>
          </p:cNvSpPr>
          <p:nvPr>
            <p:ph type="dt" sz="half" idx="10"/>
          </p:nvPr>
        </p:nvSpPr>
        <p:spPr/>
        <p:txBody>
          <a:bodyPr lIns="0" tIns="0" rIns="0" bIns="0"/>
          <a:lstStyle/>
          <a:p>
            <a:fld id="{27005303-4348-4D39-93AC-88C8362D7F27}" type="datetime1">
              <a:rPr lang="nb-NO" smtClean="0"/>
              <a:t>05.11.2024</a:t>
            </a:fld>
            <a:endParaRPr lang="nb-NO"/>
          </a:p>
        </p:txBody>
      </p:sp>
      <p:sp>
        <p:nvSpPr>
          <p:cNvPr id="5" name="Plassholder for bunntekst 4">
            <a:extLst>
              <a:ext uri="{FF2B5EF4-FFF2-40B4-BE49-F238E27FC236}">
                <a16:creationId xmlns:a16="http://schemas.microsoft.com/office/drawing/2014/main" id="{6169D109-4629-FE36-E1E4-896FDAF25BFF}"/>
              </a:ext>
            </a:extLst>
          </p:cNvPr>
          <p:cNvSpPr>
            <a:spLocks noGrp="1"/>
          </p:cNvSpPr>
          <p:nvPr>
            <p:ph type="ftr" sz="quarter" idx="11"/>
          </p:nvPr>
        </p:nvSpPr>
        <p:spPr/>
        <p:txBody>
          <a:bodyPr lIns="0" tIns="0" rIns="0" bIns="0"/>
          <a:lstStyle/>
          <a:p>
            <a:r>
              <a:rPr lang="nb-NO"/>
              <a:t>Presentasjonstittel</a:t>
            </a:r>
          </a:p>
        </p:txBody>
      </p:sp>
      <p:sp>
        <p:nvSpPr>
          <p:cNvPr id="6" name="Plassholder for lysbildenummer 5">
            <a:extLst>
              <a:ext uri="{FF2B5EF4-FFF2-40B4-BE49-F238E27FC236}">
                <a16:creationId xmlns:a16="http://schemas.microsoft.com/office/drawing/2014/main" id="{907BCAF7-4DBD-3CAD-24C5-FBE42895E453}"/>
              </a:ext>
            </a:extLst>
          </p:cNvPr>
          <p:cNvSpPr>
            <a:spLocks noGrp="1"/>
          </p:cNvSpPr>
          <p:nvPr>
            <p:ph type="sldNum" sz="quarter" idx="12"/>
          </p:nvPr>
        </p:nvSpPr>
        <p:spPr/>
        <p:txBody>
          <a:bodyPr lIns="0" tIns="0" rIns="0" bIns="0"/>
          <a:lstStyle/>
          <a:p>
            <a:fld id="{70EC312F-62C7-40FB-99A7-7FA22F819934}" type="slidenum">
              <a:rPr lang="nb-NO" smtClean="0"/>
              <a:t>‹#›</a:t>
            </a:fld>
            <a:endParaRPr lang="nb-NO"/>
          </a:p>
        </p:txBody>
      </p:sp>
    </p:spTree>
    <p:extLst>
      <p:ext uri="{BB962C8B-B14F-4D97-AF65-F5344CB8AC3E}">
        <p14:creationId xmlns:p14="http://schemas.microsoft.com/office/powerpoint/2010/main" val="2518219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Large char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17F4A88-AD07-4D8C-910D-EDAA4E4DB5D4}"/>
              </a:ext>
            </a:extLst>
          </p:cNvPr>
          <p:cNvSpPr>
            <a:spLocks noGrp="1"/>
          </p:cNvSpPr>
          <p:nvPr>
            <p:ph type="title" hasCustomPrompt="1"/>
          </p:nvPr>
        </p:nvSpPr>
        <p:spPr>
          <a:xfrm>
            <a:off x="869711" y="676801"/>
            <a:ext cx="14194847" cy="1767417"/>
          </a:xfrm>
        </p:spPr>
        <p:txBody>
          <a:bodyPr lIns="0" tIns="0" rIns="0" bIns="0" anchor="ctr"/>
          <a:lstStyle>
            <a:lvl1pPr>
              <a:defRPr b="0"/>
            </a:lvl1pPr>
          </a:lstStyle>
          <a:p>
            <a:r>
              <a:rPr lang="nb-NO" noProof="0"/>
              <a:t>Dette er en heading som går over én linje</a:t>
            </a:r>
          </a:p>
        </p:txBody>
      </p:sp>
      <p:sp>
        <p:nvSpPr>
          <p:cNvPr id="2" name="Content Placeholder 1">
            <a:extLst>
              <a:ext uri="{FF2B5EF4-FFF2-40B4-BE49-F238E27FC236}">
                <a16:creationId xmlns:a16="http://schemas.microsoft.com/office/drawing/2014/main" id="{3018CA23-108E-4B6E-96A8-5821713260E0}"/>
              </a:ext>
            </a:extLst>
          </p:cNvPr>
          <p:cNvSpPr>
            <a:spLocks noGrp="1"/>
          </p:cNvSpPr>
          <p:nvPr>
            <p:ph sz="quarter" idx="15"/>
          </p:nvPr>
        </p:nvSpPr>
        <p:spPr>
          <a:xfrm>
            <a:off x="869711" y="2697600"/>
            <a:ext cx="14194847" cy="5472000"/>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Date Placeholder 4">
            <a:extLst>
              <a:ext uri="{FF2B5EF4-FFF2-40B4-BE49-F238E27FC236}">
                <a16:creationId xmlns:a16="http://schemas.microsoft.com/office/drawing/2014/main" id="{EF95D115-296A-430E-87F3-A6B630E0719B}"/>
              </a:ext>
            </a:extLst>
          </p:cNvPr>
          <p:cNvSpPr>
            <a:spLocks noGrp="1"/>
          </p:cNvSpPr>
          <p:nvPr>
            <p:ph type="dt" sz="half" idx="16"/>
          </p:nvPr>
        </p:nvSpPr>
        <p:spPr/>
        <p:txBody>
          <a:bodyPr/>
          <a:lstStyle/>
          <a:p>
            <a:fld id="{59202EAE-09AB-4830-9B9F-52E977056546}" type="datetime1">
              <a:rPr lang="nb-NO" smtClean="0"/>
              <a:pPr/>
              <a:t>05.11.2024</a:t>
            </a:fld>
            <a:endParaRPr lang="nb-NO"/>
          </a:p>
        </p:txBody>
      </p:sp>
      <p:sp>
        <p:nvSpPr>
          <p:cNvPr id="8" name="Footer Placeholder 7">
            <a:extLst>
              <a:ext uri="{FF2B5EF4-FFF2-40B4-BE49-F238E27FC236}">
                <a16:creationId xmlns:a16="http://schemas.microsoft.com/office/drawing/2014/main" id="{CEF923B0-CD85-45B5-AB26-FDD84DBE4DE8}"/>
              </a:ext>
            </a:extLst>
          </p:cNvPr>
          <p:cNvSpPr>
            <a:spLocks noGrp="1"/>
          </p:cNvSpPr>
          <p:nvPr>
            <p:ph type="ftr" sz="quarter" idx="17"/>
          </p:nvPr>
        </p:nvSpPr>
        <p:spPr/>
        <p:txBody>
          <a:bodyPr/>
          <a:lstStyle/>
          <a:p>
            <a:pPr algn="l"/>
            <a:endParaRPr lang="nb-NO">
              <a:solidFill>
                <a:srgbClr val="6E6E6E"/>
              </a:solidFill>
            </a:endParaRPr>
          </a:p>
        </p:txBody>
      </p:sp>
      <p:sp>
        <p:nvSpPr>
          <p:cNvPr id="9" name="Slide Number Placeholder 8">
            <a:extLst>
              <a:ext uri="{FF2B5EF4-FFF2-40B4-BE49-F238E27FC236}">
                <a16:creationId xmlns:a16="http://schemas.microsoft.com/office/drawing/2014/main" id="{BB6611D6-1360-4754-B5E1-E8D2213FBF3B}"/>
              </a:ext>
            </a:extLst>
          </p:cNvPr>
          <p:cNvSpPr>
            <a:spLocks noGrp="1"/>
          </p:cNvSpPr>
          <p:nvPr>
            <p:ph type="sldNum" sz="quarter" idx="18"/>
          </p:nvPr>
        </p:nvSpPr>
        <p:spPr/>
        <p:txBody>
          <a:bodyPr/>
          <a:lstStyle/>
          <a:p>
            <a:fld id="{E7901B31-55E1-443C-843C-D37EB5415240}" type="slidenum">
              <a:rPr lang="nb-NO" smtClean="0"/>
              <a:pPr/>
              <a:t>‹#›</a:t>
            </a:fld>
            <a:endParaRPr lang="nb-NO"/>
          </a:p>
        </p:txBody>
      </p:sp>
    </p:spTree>
    <p:extLst>
      <p:ext uri="{BB962C8B-B14F-4D97-AF65-F5344CB8AC3E}">
        <p14:creationId xmlns:p14="http://schemas.microsoft.com/office/powerpoint/2010/main" val="22215522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0"/>
            <a:ext cx="16256033" cy="9145143"/>
          </a:xfrm>
          <a:prstGeom prst="rect">
            <a:avLst/>
          </a:prstGeom>
        </p:spPr>
        <p:txBody>
          <a:bodyPr lIns="0" tIns="2880000" rIns="0" bIns="0" anchor="t" anchorCtr="1"/>
          <a:lstStyle>
            <a:lvl1pPr marL="0" indent="0" algn="ctr">
              <a:buNone/>
              <a:defRPr sz="3000"/>
            </a:lvl1pPr>
          </a:lstStyle>
          <a:p>
            <a:r>
              <a:rPr lang="nb-NO"/>
              <a:t>Klikk på ikonet for å legge til et bilde</a:t>
            </a:r>
          </a:p>
        </p:txBody>
      </p:sp>
    </p:spTree>
    <p:extLst>
      <p:ext uri="{BB962C8B-B14F-4D97-AF65-F5344CB8AC3E}">
        <p14:creationId xmlns:p14="http://schemas.microsoft.com/office/powerpoint/2010/main" val="40147211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7FCAF6A-595C-33ED-5991-60AEF12C987C}"/>
              </a:ext>
            </a:extLst>
          </p:cNvPr>
          <p:cNvSpPr>
            <a:spLocks noGrp="1"/>
          </p:cNvSpPr>
          <p:nvPr>
            <p:ph type="ctrTitle"/>
          </p:nvPr>
        </p:nvSpPr>
        <p:spPr>
          <a:xfrm>
            <a:off x="2031802" y="1496485"/>
            <a:ext cx="12190810" cy="3183467"/>
          </a:xfrm>
        </p:spPr>
        <p:txBody>
          <a:bodyPr anchor="b"/>
          <a:lstStyle>
            <a:lvl1pPr algn="ctr">
              <a:defRPr sz="7998"/>
            </a:lvl1pPr>
          </a:lstStyle>
          <a:p>
            <a:r>
              <a:rPr lang="nb-NO"/>
              <a:t>Klikk for å redigere tittelstil</a:t>
            </a:r>
          </a:p>
        </p:txBody>
      </p:sp>
      <p:sp>
        <p:nvSpPr>
          <p:cNvPr id="3" name="Undertittel 2">
            <a:extLst>
              <a:ext uri="{FF2B5EF4-FFF2-40B4-BE49-F238E27FC236}">
                <a16:creationId xmlns:a16="http://schemas.microsoft.com/office/drawing/2014/main" id="{97A6F67B-84B5-794C-4A1A-EF2C706D8F5D}"/>
              </a:ext>
            </a:extLst>
          </p:cNvPr>
          <p:cNvSpPr>
            <a:spLocks noGrp="1"/>
          </p:cNvSpPr>
          <p:nvPr>
            <p:ph type="subTitle" idx="1"/>
          </p:nvPr>
        </p:nvSpPr>
        <p:spPr>
          <a:xfrm>
            <a:off x="2031802" y="4802717"/>
            <a:ext cx="12190810" cy="2207683"/>
          </a:xfrm>
        </p:spPr>
        <p:txBody>
          <a:bodyPr/>
          <a:lstStyle>
            <a:lvl1pPr marL="0" indent="0" algn="ctr">
              <a:buNone/>
              <a:defRPr sz="3200"/>
            </a:lvl1pPr>
            <a:lvl2pPr marL="609478" indent="0" algn="ctr">
              <a:buNone/>
              <a:defRPr sz="2666"/>
            </a:lvl2pPr>
            <a:lvl3pPr marL="1218957" indent="0" algn="ctr">
              <a:buNone/>
              <a:defRPr sz="2400"/>
            </a:lvl3pPr>
            <a:lvl4pPr marL="1828434" indent="0" algn="ctr">
              <a:buNone/>
              <a:defRPr sz="2133"/>
            </a:lvl4pPr>
            <a:lvl5pPr marL="2437912" indent="0" algn="ctr">
              <a:buNone/>
              <a:defRPr sz="2133"/>
            </a:lvl5pPr>
            <a:lvl6pPr marL="3047390" indent="0" algn="ctr">
              <a:buNone/>
              <a:defRPr sz="2133"/>
            </a:lvl6pPr>
            <a:lvl7pPr marL="3656869" indent="0" algn="ctr">
              <a:buNone/>
              <a:defRPr sz="2133"/>
            </a:lvl7pPr>
            <a:lvl8pPr marL="4266347" indent="0" algn="ctr">
              <a:buNone/>
              <a:defRPr sz="2133"/>
            </a:lvl8pPr>
            <a:lvl9pPr marL="4875824" indent="0" algn="ctr">
              <a:buNone/>
              <a:defRPr sz="2133"/>
            </a:lvl9pPr>
          </a:lstStyle>
          <a:p>
            <a:r>
              <a:rPr lang="nb-NO"/>
              <a:t>Klikk for å redigere undertittelstil i malen</a:t>
            </a:r>
          </a:p>
        </p:txBody>
      </p:sp>
      <p:sp>
        <p:nvSpPr>
          <p:cNvPr id="4" name="Plassholder for dato 3">
            <a:extLst>
              <a:ext uri="{FF2B5EF4-FFF2-40B4-BE49-F238E27FC236}">
                <a16:creationId xmlns:a16="http://schemas.microsoft.com/office/drawing/2014/main" id="{BE4652C0-FF4D-35A9-7084-9DC483F4711C}"/>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5" name="Plassholder for bunntekst 4">
            <a:extLst>
              <a:ext uri="{FF2B5EF4-FFF2-40B4-BE49-F238E27FC236}">
                <a16:creationId xmlns:a16="http://schemas.microsoft.com/office/drawing/2014/main" id="{552E931A-50EC-210D-4E23-A60A7EF08B55}"/>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881A32F-6548-7FC3-2E0E-E2CED8D58AF2}"/>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212311422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52CE74E-98A5-A02B-3C51-80CE40B71014}"/>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9297B65B-84A2-AA0D-2B66-B0EF236E27E7}"/>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064926CB-92A1-15CC-BA2F-B65A7794860D}"/>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5" name="Plassholder for bunntekst 4">
            <a:extLst>
              <a:ext uri="{FF2B5EF4-FFF2-40B4-BE49-F238E27FC236}">
                <a16:creationId xmlns:a16="http://schemas.microsoft.com/office/drawing/2014/main" id="{C400F1D9-B43B-619B-DE54-84F726C7C201}"/>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5762EE05-44F1-1DDA-4D3F-FBB25D16DFEB}"/>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2442175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BFACF56-4061-8B38-9A45-839DD613935B}"/>
              </a:ext>
            </a:extLst>
          </p:cNvPr>
          <p:cNvSpPr>
            <a:spLocks noGrp="1"/>
          </p:cNvSpPr>
          <p:nvPr>
            <p:ph type="title"/>
          </p:nvPr>
        </p:nvSpPr>
        <p:spPr>
          <a:xfrm>
            <a:off x="1109025" y="2279653"/>
            <a:ext cx="14019431" cy="3803649"/>
          </a:xfrm>
        </p:spPr>
        <p:txBody>
          <a:bodyPr anchor="b"/>
          <a:lstStyle>
            <a:lvl1pPr>
              <a:defRPr sz="7998"/>
            </a:lvl1pPr>
          </a:lstStyle>
          <a:p>
            <a:r>
              <a:rPr lang="nb-NO"/>
              <a:t>Klikk for å redigere tittelstil</a:t>
            </a:r>
          </a:p>
        </p:txBody>
      </p:sp>
      <p:sp>
        <p:nvSpPr>
          <p:cNvPr id="3" name="Plassholder for tekst 2">
            <a:extLst>
              <a:ext uri="{FF2B5EF4-FFF2-40B4-BE49-F238E27FC236}">
                <a16:creationId xmlns:a16="http://schemas.microsoft.com/office/drawing/2014/main" id="{848B867B-69B1-2C90-2133-72DE8D70122C}"/>
              </a:ext>
            </a:extLst>
          </p:cNvPr>
          <p:cNvSpPr>
            <a:spLocks noGrp="1"/>
          </p:cNvSpPr>
          <p:nvPr>
            <p:ph type="body" idx="1"/>
          </p:nvPr>
        </p:nvSpPr>
        <p:spPr>
          <a:xfrm>
            <a:off x="1109025" y="6119286"/>
            <a:ext cx="14019431" cy="2000249"/>
          </a:xfrm>
        </p:spPr>
        <p:txBody>
          <a:bodyPr/>
          <a:lstStyle>
            <a:lvl1pPr marL="0" indent="0">
              <a:buNone/>
              <a:defRPr sz="3200">
                <a:solidFill>
                  <a:schemeClr val="tx1">
                    <a:tint val="82000"/>
                  </a:schemeClr>
                </a:solidFill>
              </a:defRPr>
            </a:lvl1pPr>
            <a:lvl2pPr marL="609478" indent="0">
              <a:buNone/>
              <a:defRPr sz="2666">
                <a:solidFill>
                  <a:schemeClr val="tx1">
                    <a:tint val="82000"/>
                  </a:schemeClr>
                </a:solidFill>
              </a:defRPr>
            </a:lvl2pPr>
            <a:lvl3pPr marL="1218957" indent="0">
              <a:buNone/>
              <a:defRPr sz="2400">
                <a:solidFill>
                  <a:schemeClr val="tx1">
                    <a:tint val="82000"/>
                  </a:schemeClr>
                </a:solidFill>
              </a:defRPr>
            </a:lvl3pPr>
            <a:lvl4pPr marL="1828434" indent="0">
              <a:buNone/>
              <a:defRPr sz="2133">
                <a:solidFill>
                  <a:schemeClr val="tx1">
                    <a:tint val="82000"/>
                  </a:schemeClr>
                </a:solidFill>
              </a:defRPr>
            </a:lvl4pPr>
            <a:lvl5pPr marL="2437912" indent="0">
              <a:buNone/>
              <a:defRPr sz="2133">
                <a:solidFill>
                  <a:schemeClr val="tx1">
                    <a:tint val="82000"/>
                  </a:schemeClr>
                </a:solidFill>
              </a:defRPr>
            </a:lvl5pPr>
            <a:lvl6pPr marL="3047390" indent="0">
              <a:buNone/>
              <a:defRPr sz="2133">
                <a:solidFill>
                  <a:schemeClr val="tx1">
                    <a:tint val="82000"/>
                  </a:schemeClr>
                </a:solidFill>
              </a:defRPr>
            </a:lvl6pPr>
            <a:lvl7pPr marL="3656869" indent="0">
              <a:buNone/>
              <a:defRPr sz="2133">
                <a:solidFill>
                  <a:schemeClr val="tx1">
                    <a:tint val="82000"/>
                  </a:schemeClr>
                </a:solidFill>
              </a:defRPr>
            </a:lvl7pPr>
            <a:lvl8pPr marL="4266347" indent="0">
              <a:buNone/>
              <a:defRPr sz="2133">
                <a:solidFill>
                  <a:schemeClr val="tx1">
                    <a:tint val="82000"/>
                  </a:schemeClr>
                </a:solidFill>
              </a:defRPr>
            </a:lvl8pPr>
            <a:lvl9pPr marL="4875824" indent="0">
              <a:buNone/>
              <a:defRPr sz="2133">
                <a:solidFill>
                  <a:schemeClr val="tx1">
                    <a:tint val="82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762A7B81-973D-3FF5-D2F2-DEAE59FC075B}"/>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5" name="Plassholder for bunntekst 4">
            <a:extLst>
              <a:ext uri="{FF2B5EF4-FFF2-40B4-BE49-F238E27FC236}">
                <a16:creationId xmlns:a16="http://schemas.microsoft.com/office/drawing/2014/main" id="{42E80270-7FCD-5E72-1806-65BB0B5CDB5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9DE1F8A-993A-9865-95AE-5C1C9CBE1195}"/>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349492413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2E2E91-B89F-9626-C1A8-868A7F9BD02D}"/>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2C3ACF60-8E4C-731A-075B-C40F847C7C6C}"/>
              </a:ext>
            </a:extLst>
          </p:cNvPr>
          <p:cNvSpPr>
            <a:spLocks noGrp="1"/>
          </p:cNvSpPr>
          <p:nvPr>
            <p:ph sz="half" idx="1"/>
          </p:nvPr>
        </p:nvSpPr>
        <p:spPr>
          <a:xfrm>
            <a:off x="1117491" y="2434167"/>
            <a:ext cx="6908126" cy="5801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63C6E0A8-98DE-8F5A-AE13-3B2BE39A44BC}"/>
              </a:ext>
            </a:extLst>
          </p:cNvPr>
          <p:cNvSpPr>
            <a:spLocks noGrp="1"/>
          </p:cNvSpPr>
          <p:nvPr>
            <p:ph sz="half" idx="2"/>
          </p:nvPr>
        </p:nvSpPr>
        <p:spPr>
          <a:xfrm>
            <a:off x="8228796" y="2434167"/>
            <a:ext cx="6908126" cy="5801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5B6D8D98-F65F-74EC-B562-950BC1E04E51}"/>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6" name="Plassholder for bunntekst 5">
            <a:extLst>
              <a:ext uri="{FF2B5EF4-FFF2-40B4-BE49-F238E27FC236}">
                <a16:creationId xmlns:a16="http://schemas.microsoft.com/office/drawing/2014/main" id="{1F35F941-AD82-C744-6949-F193F2F6FFFC}"/>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256BC80-0FA4-0D58-3658-BB320CED72A7}"/>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71672042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BC91164-515B-D255-E9C1-081ED1BB9510}"/>
              </a:ext>
            </a:extLst>
          </p:cNvPr>
          <p:cNvSpPr>
            <a:spLocks noGrp="1"/>
          </p:cNvSpPr>
          <p:nvPr>
            <p:ph type="title"/>
          </p:nvPr>
        </p:nvSpPr>
        <p:spPr>
          <a:xfrm>
            <a:off x="1119608" y="486836"/>
            <a:ext cx="14019431" cy="1767417"/>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994E06C7-DD4B-3B15-8D3E-A0F070F63481}"/>
              </a:ext>
            </a:extLst>
          </p:cNvPr>
          <p:cNvSpPr>
            <a:spLocks noGrp="1"/>
          </p:cNvSpPr>
          <p:nvPr>
            <p:ph type="body" idx="1"/>
          </p:nvPr>
        </p:nvSpPr>
        <p:spPr>
          <a:xfrm>
            <a:off x="1119610" y="2241552"/>
            <a:ext cx="6876378" cy="1098549"/>
          </a:xfrm>
        </p:spPr>
        <p:txBody>
          <a:bodyPr anchor="b"/>
          <a:lstStyle>
            <a:lvl1pPr marL="0" indent="0">
              <a:buNone/>
              <a:defRPr sz="3200" b="1"/>
            </a:lvl1pPr>
            <a:lvl2pPr marL="609478" indent="0">
              <a:buNone/>
              <a:defRPr sz="2666" b="1"/>
            </a:lvl2pPr>
            <a:lvl3pPr marL="1218957" indent="0">
              <a:buNone/>
              <a:defRPr sz="2400" b="1"/>
            </a:lvl3pPr>
            <a:lvl4pPr marL="1828434" indent="0">
              <a:buNone/>
              <a:defRPr sz="2133" b="1"/>
            </a:lvl4pPr>
            <a:lvl5pPr marL="2437912" indent="0">
              <a:buNone/>
              <a:defRPr sz="2133" b="1"/>
            </a:lvl5pPr>
            <a:lvl6pPr marL="3047390" indent="0">
              <a:buNone/>
              <a:defRPr sz="2133" b="1"/>
            </a:lvl6pPr>
            <a:lvl7pPr marL="3656869" indent="0">
              <a:buNone/>
              <a:defRPr sz="2133" b="1"/>
            </a:lvl7pPr>
            <a:lvl8pPr marL="4266347" indent="0">
              <a:buNone/>
              <a:defRPr sz="2133" b="1"/>
            </a:lvl8pPr>
            <a:lvl9pPr marL="4875824" indent="0">
              <a:buNone/>
              <a:defRPr sz="2133"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41B5E9AE-8D56-8921-1BE9-07A60E33DD0A}"/>
              </a:ext>
            </a:extLst>
          </p:cNvPr>
          <p:cNvSpPr>
            <a:spLocks noGrp="1"/>
          </p:cNvSpPr>
          <p:nvPr>
            <p:ph sz="half" idx="2"/>
          </p:nvPr>
        </p:nvSpPr>
        <p:spPr>
          <a:xfrm>
            <a:off x="1119610" y="3340100"/>
            <a:ext cx="6876378" cy="4912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22F82797-0EAF-B723-E3E7-02B20865EB66}"/>
              </a:ext>
            </a:extLst>
          </p:cNvPr>
          <p:cNvSpPr>
            <a:spLocks noGrp="1"/>
          </p:cNvSpPr>
          <p:nvPr>
            <p:ph type="body" sz="quarter" idx="3"/>
          </p:nvPr>
        </p:nvSpPr>
        <p:spPr>
          <a:xfrm>
            <a:off x="8228796" y="2241552"/>
            <a:ext cx="6910243" cy="1098549"/>
          </a:xfrm>
        </p:spPr>
        <p:txBody>
          <a:bodyPr anchor="b"/>
          <a:lstStyle>
            <a:lvl1pPr marL="0" indent="0">
              <a:buNone/>
              <a:defRPr sz="3200" b="1"/>
            </a:lvl1pPr>
            <a:lvl2pPr marL="609478" indent="0">
              <a:buNone/>
              <a:defRPr sz="2666" b="1"/>
            </a:lvl2pPr>
            <a:lvl3pPr marL="1218957" indent="0">
              <a:buNone/>
              <a:defRPr sz="2400" b="1"/>
            </a:lvl3pPr>
            <a:lvl4pPr marL="1828434" indent="0">
              <a:buNone/>
              <a:defRPr sz="2133" b="1"/>
            </a:lvl4pPr>
            <a:lvl5pPr marL="2437912" indent="0">
              <a:buNone/>
              <a:defRPr sz="2133" b="1"/>
            </a:lvl5pPr>
            <a:lvl6pPr marL="3047390" indent="0">
              <a:buNone/>
              <a:defRPr sz="2133" b="1"/>
            </a:lvl6pPr>
            <a:lvl7pPr marL="3656869" indent="0">
              <a:buNone/>
              <a:defRPr sz="2133" b="1"/>
            </a:lvl7pPr>
            <a:lvl8pPr marL="4266347" indent="0">
              <a:buNone/>
              <a:defRPr sz="2133" b="1"/>
            </a:lvl8pPr>
            <a:lvl9pPr marL="4875824" indent="0">
              <a:buNone/>
              <a:defRPr sz="2133"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AD440BBD-E9C2-F911-4E37-5418B20B7E9A}"/>
              </a:ext>
            </a:extLst>
          </p:cNvPr>
          <p:cNvSpPr>
            <a:spLocks noGrp="1"/>
          </p:cNvSpPr>
          <p:nvPr>
            <p:ph sz="quarter" idx="4"/>
          </p:nvPr>
        </p:nvSpPr>
        <p:spPr>
          <a:xfrm>
            <a:off x="8228796" y="3340100"/>
            <a:ext cx="6910243" cy="4912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A0C4DC25-AF9D-56C3-1913-B42648AECE80}"/>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8" name="Plassholder for bunntekst 7">
            <a:extLst>
              <a:ext uri="{FF2B5EF4-FFF2-40B4-BE49-F238E27FC236}">
                <a16:creationId xmlns:a16="http://schemas.microsoft.com/office/drawing/2014/main" id="{7966C942-B234-96D0-8C2D-9E4EB163F71E}"/>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E31B8AA8-382F-C76B-1FAB-6C4B964D8140}"/>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37683034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2364231" y="2510971"/>
            <a:ext cx="5977406" cy="5776686"/>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8682023" y="2510971"/>
            <a:ext cx="5977406" cy="5776686"/>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endParaRPr lang="nb-NO" dirty="0"/>
          </a:p>
        </p:txBody>
      </p:sp>
    </p:spTree>
    <p:extLst>
      <p:ext uri="{BB962C8B-B14F-4D97-AF65-F5344CB8AC3E}">
        <p14:creationId xmlns:p14="http://schemas.microsoft.com/office/powerpoint/2010/main" val="3213274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AE7155B-16D0-1DC8-CDD2-4A262C73C576}"/>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7715C92C-1179-F794-4475-EDB89D1B7D43}"/>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4" name="Plassholder for bunntekst 3">
            <a:extLst>
              <a:ext uri="{FF2B5EF4-FFF2-40B4-BE49-F238E27FC236}">
                <a16:creationId xmlns:a16="http://schemas.microsoft.com/office/drawing/2014/main" id="{4B0B4B90-122C-C5E0-6CD1-A7AB1A2AE71A}"/>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1EEE613E-C14F-AAFC-AB44-5FFBC1E62AC7}"/>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61124446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916436EB-2FA6-76A5-4DED-6B23A0274D6D}"/>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3" name="Plassholder for bunntekst 2">
            <a:extLst>
              <a:ext uri="{FF2B5EF4-FFF2-40B4-BE49-F238E27FC236}">
                <a16:creationId xmlns:a16="http://schemas.microsoft.com/office/drawing/2014/main" id="{1FB2DAEE-194E-D72E-627F-4E0374D45339}"/>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7D81473B-56C8-FF42-A058-184CCA22B104}"/>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30211521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9C84203-9150-B017-BB82-0B85E2937D44}"/>
              </a:ext>
            </a:extLst>
          </p:cNvPr>
          <p:cNvSpPr>
            <a:spLocks noGrp="1"/>
          </p:cNvSpPr>
          <p:nvPr>
            <p:ph type="title"/>
          </p:nvPr>
        </p:nvSpPr>
        <p:spPr>
          <a:xfrm>
            <a:off x="1119610" y="609600"/>
            <a:ext cx="5242471" cy="2133600"/>
          </a:xfrm>
        </p:spPr>
        <p:txBody>
          <a:bodyPr anchor="b"/>
          <a:lstStyle>
            <a:lvl1pPr>
              <a:defRPr sz="4266"/>
            </a:lvl1pPr>
          </a:lstStyle>
          <a:p>
            <a:r>
              <a:rPr lang="nb-NO"/>
              <a:t>Klikk for å redigere tittelstil</a:t>
            </a:r>
          </a:p>
        </p:txBody>
      </p:sp>
      <p:sp>
        <p:nvSpPr>
          <p:cNvPr id="3" name="Plassholder for innhold 2">
            <a:extLst>
              <a:ext uri="{FF2B5EF4-FFF2-40B4-BE49-F238E27FC236}">
                <a16:creationId xmlns:a16="http://schemas.microsoft.com/office/drawing/2014/main" id="{EF7CD475-692C-F429-7191-4927F0886DFC}"/>
              </a:ext>
            </a:extLst>
          </p:cNvPr>
          <p:cNvSpPr>
            <a:spLocks noGrp="1"/>
          </p:cNvSpPr>
          <p:nvPr>
            <p:ph idx="1"/>
          </p:nvPr>
        </p:nvSpPr>
        <p:spPr>
          <a:xfrm>
            <a:off x="6910242" y="1316569"/>
            <a:ext cx="8228797" cy="6498167"/>
          </a:xfrm>
        </p:spPr>
        <p:txBody>
          <a:bodyPr/>
          <a:lstStyle>
            <a:lvl1pPr>
              <a:defRPr sz="4266"/>
            </a:lvl1pPr>
            <a:lvl2pPr>
              <a:defRPr sz="3733"/>
            </a:lvl2pPr>
            <a:lvl3pPr>
              <a:defRPr sz="3200"/>
            </a:lvl3pPr>
            <a:lvl4pPr>
              <a:defRPr sz="2666"/>
            </a:lvl4pPr>
            <a:lvl5pPr>
              <a:defRPr sz="2666"/>
            </a:lvl5pPr>
            <a:lvl6pPr>
              <a:defRPr sz="2666"/>
            </a:lvl6pPr>
            <a:lvl7pPr>
              <a:defRPr sz="2666"/>
            </a:lvl7pPr>
            <a:lvl8pPr>
              <a:defRPr sz="2666"/>
            </a:lvl8pPr>
            <a:lvl9pPr>
              <a:defRPr sz="2666"/>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2CAF8F91-7D85-97C5-0E16-3FDADB7D1C3E}"/>
              </a:ext>
            </a:extLst>
          </p:cNvPr>
          <p:cNvSpPr>
            <a:spLocks noGrp="1"/>
          </p:cNvSpPr>
          <p:nvPr>
            <p:ph type="body" sz="half" idx="2"/>
          </p:nvPr>
        </p:nvSpPr>
        <p:spPr>
          <a:xfrm>
            <a:off x="1119610" y="2743200"/>
            <a:ext cx="5242471" cy="5082117"/>
          </a:xfrm>
        </p:spPr>
        <p:txBody>
          <a:bodyPr/>
          <a:lstStyle>
            <a:lvl1pPr marL="0" indent="0">
              <a:buNone/>
              <a:defRPr sz="2133"/>
            </a:lvl1pPr>
            <a:lvl2pPr marL="609478" indent="0">
              <a:buNone/>
              <a:defRPr sz="1866"/>
            </a:lvl2pPr>
            <a:lvl3pPr marL="1218957" indent="0">
              <a:buNone/>
              <a:defRPr sz="1600"/>
            </a:lvl3pPr>
            <a:lvl4pPr marL="1828434" indent="0">
              <a:buNone/>
              <a:defRPr sz="1333"/>
            </a:lvl4pPr>
            <a:lvl5pPr marL="2437912" indent="0">
              <a:buNone/>
              <a:defRPr sz="1333"/>
            </a:lvl5pPr>
            <a:lvl6pPr marL="3047390" indent="0">
              <a:buNone/>
              <a:defRPr sz="1333"/>
            </a:lvl6pPr>
            <a:lvl7pPr marL="3656869" indent="0">
              <a:buNone/>
              <a:defRPr sz="1333"/>
            </a:lvl7pPr>
            <a:lvl8pPr marL="4266347" indent="0">
              <a:buNone/>
              <a:defRPr sz="1333"/>
            </a:lvl8pPr>
            <a:lvl9pPr marL="4875824" indent="0">
              <a:buNone/>
              <a:defRPr sz="1333"/>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AD9768CB-361F-FE0E-4E99-14219A08671A}"/>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6" name="Plassholder for bunntekst 5">
            <a:extLst>
              <a:ext uri="{FF2B5EF4-FFF2-40B4-BE49-F238E27FC236}">
                <a16:creationId xmlns:a16="http://schemas.microsoft.com/office/drawing/2014/main" id="{A5229D78-F0A9-3E4F-F9C1-E905105FA78F}"/>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0D7834C7-4769-8E3D-5226-104EF28E9900}"/>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255466952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C22FAF5-2D1E-3904-3178-A2228C5BEC27}"/>
              </a:ext>
            </a:extLst>
          </p:cNvPr>
          <p:cNvSpPr>
            <a:spLocks noGrp="1"/>
          </p:cNvSpPr>
          <p:nvPr>
            <p:ph type="title"/>
          </p:nvPr>
        </p:nvSpPr>
        <p:spPr>
          <a:xfrm>
            <a:off x="1119610" y="609600"/>
            <a:ext cx="5242471" cy="2133600"/>
          </a:xfrm>
        </p:spPr>
        <p:txBody>
          <a:bodyPr anchor="b"/>
          <a:lstStyle>
            <a:lvl1pPr>
              <a:defRPr sz="4266"/>
            </a:lvl1pPr>
          </a:lstStyle>
          <a:p>
            <a:r>
              <a:rPr lang="nb-NO"/>
              <a:t>Klikk for å redigere tittelstil</a:t>
            </a:r>
          </a:p>
        </p:txBody>
      </p:sp>
      <p:sp>
        <p:nvSpPr>
          <p:cNvPr id="3" name="Plassholder for bilde 2">
            <a:extLst>
              <a:ext uri="{FF2B5EF4-FFF2-40B4-BE49-F238E27FC236}">
                <a16:creationId xmlns:a16="http://schemas.microsoft.com/office/drawing/2014/main" id="{1E9E95AD-D56D-4671-F912-73020BF48172}"/>
              </a:ext>
            </a:extLst>
          </p:cNvPr>
          <p:cNvSpPr>
            <a:spLocks noGrp="1"/>
          </p:cNvSpPr>
          <p:nvPr>
            <p:ph type="pic" idx="1"/>
          </p:nvPr>
        </p:nvSpPr>
        <p:spPr>
          <a:xfrm>
            <a:off x="6910242" y="1316569"/>
            <a:ext cx="8228797" cy="6498167"/>
          </a:xfrm>
        </p:spPr>
        <p:txBody>
          <a:bodyPr/>
          <a:lstStyle>
            <a:lvl1pPr marL="0" indent="0">
              <a:buNone/>
              <a:defRPr sz="4266"/>
            </a:lvl1pPr>
            <a:lvl2pPr marL="609478" indent="0">
              <a:buNone/>
              <a:defRPr sz="3733"/>
            </a:lvl2pPr>
            <a:lvl3pPr marL="1218957" indent="0">
              <a:buNone/>
              <a:defRPr sz="3200"/>
            </a:lvl3pPr>
            <a:lvl4pPr marL="1828434" indent="0">
              <a:buNone/>
              <a:defRPr sz="2666"/>
            </a:lvl4pPr>
            <a:lvl5pPr marL="2437912" indent="0">
              <a:buNone/>
              <a:defRPr sz="2666"/>
            </a:lvl5pPr>
            <a:lvl6pPr marL="3047390" indent="0">
              <a:buNone/>
              <a:defRPr sz="2666"/>
            </a:lvl6pPr>
            <a:lvl7pPr marL="3656869" indent="0">
              <a:buNone/>
              <a:defRPr sz="2666"/>
            </a:lvl7pPr>
            <a:lvl8pPr marL="4266347" indent="0">
              <a:buNone/>
              <a:defRPr sz="2666"/>
            </a:lvl8pPr>
            <a:lvl9pPr marL="4875824" indent="0">
              <a:buNone/>
              <a:defRPr sz="2666"/>
            </a:lvl9pPr>
          </a:lstStyle>
          <a:p>
            <a:endParaRPr lang="nb-NO"/>
          </a:p>
        </p:txBody>
      </p:sp>
      <p:sp>
        <p:nvSpPr>
          <p:cNvPr id="4" name="Plassholder for tekst 3">
            <a:extLst>
              <a:ext uri="{FF2B5EF4-FFF2-40B4-BE49-F238E27FC236}">
                <a16:creationId xmlns:a16="http://schemas.microsoft.com/office/drawing/2014/main" id="{30F1BF39-20F0-0C0C-6ACE-7A644321916A}"/>
              </a:ext>
            </a:extLst>
          </p:cNvPr>
          <p:cNvSpPr>
            <a:spLocks noGrp="1"/>
          </p:cNvSpPr>
          <p:nvPr>
            <p:ph type="body" sz="half" idx="2"/>
          </p:nvPr>
        </p:nvSpPr>
        <p:spPr>
          <a:xfrm>
            <a:off x="1119610" y="2743200"/>
            <a:ext cx="5242471" cy="5082117"/>
          </a:xfrm>
        </p:spPr>
        <p:txBody>
          <a:bodyPr/>
          <a:lstStyle>
            <a:lvl1pPr marL="0" indent="0">
              <a:buNone/>
              <a:defRPr sz="2133"/>
            </a:lvl1pPr>
            <a:lvl2pPr marL="609478" indent="0">
              <a:buNone/>
              <a:defRPr sz="1866"/>
            </a:lvl2pPr>
            <a:lvl3pPr marL="1218957" indent="0">
              <a:buNone/>
              <a:defRPr sz="1600"/>
            </a:lvl3pPr>
            <a:lvl4pPr marL="1828434" indent="0">
              <a:buNone/>
              <a:defRPr sz="1333"/>
            </a:lvl4pPr>
            <a:lvl5pPr marL="2437912" indent="0">
              <a:buNone/>
              <a:defRPr sz="1333"/>
            </a:lvl5pPr>
            <a:lvl6pPr marL="3047390" indent="0">
              <a:buNone/>
              <a:defRPr sz="1333"/>
            </a:lvl6pPr>
            <a:lvl7pPr marL="3656869" indent="0">
              <a:buNone/>
              <a:defRPr sz="1333"/>
            </a:lvl7pPr>
            <a:lvl8pPr marL="4266347" indent="0">
              <a:buNone/>
              <a:defRPr sz="1333"/>
            </a:lvl8pPr>
            <a:lvl9pPr marL="4875824" indent="0">
              <a:buNone/>
              <a:defRPr sz="1333"/>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14BE6366-34EA-7836-A829-720EEEBB3EC5}"/>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6" name="Plassholder for bunntekst 5">
            <a:extLst>
              <a:ext uri="{FF2B5EF4-FFF2-40B4-BE49-F238E27FC236}">
                <a16:creationId xmlns:a16="http://schemas.microsoft.com/office/drawing/2014/main" id="{8F9AEECC-91A0-5875-B1EA-070FDF03191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860D6E2B-BCDA-AA00-0D99-0CB7A741C552}"/>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423043491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84F6DBF-FA37-B524-868D-936677084B85}"/>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2ADA2B35-DD0B-ED34-D5C2-C7289503A25D}"/>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0C4549B8-7E84-E87A-038A-FC5DAA88EB01}"/>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5" name="Plassholder for bunntekst 4">
            <a:extLst>
              <a:ext uri="{FF2B5EF4-FFF2-40B4-BE49-F238E27FC236}">
                <a16:creationId xmlns:a16="http://schemas.microsoft.com/office/drawing/2014/main" id="{2A9642FD-B1F6-AF30-74E9-9DC945A26CC0}"/>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195FF11D-0058-BA91-53E2-D2FD6F9524AA}"/>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68419579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946ED1C6-39C8-426C-426E-175CCC442870}"/>
              </a:ext>
            </a:extLst>
          </p:cNvPr>
          <p:cNvSpPr>
            <a:spLocks noGrp="1"/>
          </p:cNvSpPr>
          <p:nvPr>
            <p:ph type="title" orient="vert"/>
          </p:nvPr>
        </p:nvSpPr>
        <p:spPr>
          <a:xfrm>
            <a:off x="11632064" y="486835"/>
            <a:ext cx="3504858" cy="7749117"/>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76167FF0-7577-7C85-54DC-9980A079D1F2}"/>
              </a:ext>
            </a:extLst>
          </p:cNvPr>
          <p:cNvSpPr>
            <a:spLocks noGrp="1"/>
          </p:cNvSpPr>
          <p:nvPr>
            <p:ph type="body" orient="vert" idx="1"/>
          </p:nvPr>
        </p:nvSpPr>
        <p:spPr>
          <a:xfrm>
            <a:off x="1117491" y="486835"/>
            <a:ext cx="10311393" cy="7749117"/>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AEC4A8C5-4715-1487-7803-72584B53D1CB}"/>
              </a:ext>
            </a:extLst>
          </p:cNvPr>
          <p:cNvSpPr>
            <a:spLocks noGrp="1"/>
          </p:cNvSpPr>
          <p:nvPr>
            <p:ph type="dt" sz="half" idx="10"/>
          </p:nvPr>
        </p:nvSpPr>
        <p:spPr/>
        <p:txBody>
          <a:bodyPr/>
          <a:lstStyle/>
          <a:p>
            <a:fld id="{53E431BC-4325-458D-BC4B-AB85F0605FE6}" type="datetimeFigureOut">
              <a:rPr lang="nb-NO" smtClean="0"/>
              <a:t>05.11.2024</a:t>
            </a:fld>
            <a:endParaRPr lang="nb-NO"/>
          </a:p>
        </p:txBody>
      </p:sp>
      <p:sp>
        <p:nvSpPr>
          <p:cNvPr id="5" name="Plassholder for bunntekst 4">
            <a:extLst>
              <a:ext uri="{FF2B5EF4-FFF2-40B4-BE49-F238E27FC236}">
                <a16:creationId xmlns:a16="http://schemas.microsoft.com/office/drawing/2014/main" id="{B3567C58-8972-903F-48A7-BCDC25D87A4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FF1AC09-38CC-79DE-BAF0-D19BA53AA6D1}"/>
              </a:ext>
            </a:extLst>
          </p:cNvPr>
          <p:cNvSpPr>
            <a:spLocks noGrp="1"/>
          </p:cNvSpPr>
          <p:nvPr>
            <p:ph type="sldNum" sz="quarter" idx="12"/>
          </p:nvPr>
        </p:nvSpPr>
        <p:spPr/>
        <p:txBody>
          <a:bodyPr/>
          <a:lstStyle/>
          <a:p>
            <a:fld id="{D58B84C8-683B-43CF-BFDA-59B38BD4F3CE}" type="slidenum">
              <a:rPr lang="nb-NO" smtClean="0"/>
              <a:t>‹#›</a:t>
            </a:fld>
            <a:endParaRPr lang="nb-NO"/>
          </a:p>
        </p:txBody>
      </p:sp>
    </p:spTree>
    <p:extLst>
      <p:ext uri="{BB962C8B-B14F-4D97-AF65-F5344CB8AC3E}">
        <p14:creationId xmlns:p14="http://schemas.microsoft.com/office/powerpoint/2010/main" val="23698542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77"/>
        <p:cNvGrpSpPr/>
        <p:nvPr/>
      </p:nvGrpSpPr>
      <p:grpSpPr>
        <a:xfrm>
          <a:off x="0" y="0"/>
          <a:ext cx="0" cy="0"/>
          <a:chOff x="0" y="0"/>
          <a:chExt cx="0" cy="0"/>
        </a:xfrm>
      </p:grpSpPr>
      <p:sp>
        <p:nvSpPr>
          <p:cNvPr id="178" name="Google Shape;178;p32"/>
          <p:cNvSpPr txBox="1">
            <a:spLocks noGrp="1"/>
          </p:cNvSpPr>
          <p:nvPr>
            <p:ph type="title"/>
          </p:nvPr>
        </p:nvSpPr>
        <p:spPr>
          <a:xfrm>
            <a:off x="554079" y="791156"/>
            <a:ext cx="15146255" cy="1018133"/>
          </a:xfrm>
          <a:prstGeom prst="rect">
            <a:avLst/>
          </a:prstGeom>
        </p:spPr>
        <p:txBody>
          <a:bodyPr spcFirstLastPara="1" wrap="square" lIns="0" tIns="0" rIns="0" bIns="0" anchor="ctr" anchorCtr="0">
            <a:noAutofit/>
          </a:bodyPr>
          <a:lstStyle>
            <a:lvl1pPr lvl="0" rtl="0">
              <a:spcBef>
                <a:spcPts val="0"/>
              </a:spcBef>
              <a:spcAft>
                <a:spcPts val="0"/>
              </a:spcAft>
              <a:buSzPts val="3000"/>
              <a:buNone/>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79" name="Google Shape;179;p32"/>
          <p:cNvSpPr txBox="1">
            <a:spLocks noGrp="1"/>
          </p:cNvSpPr>
          <p:nvPr>
            <p:ph type="body" idx="1"/>
          </p:nvPr>
        </p:nvSpPr>
        <p:spPr>
          <a:xfrm>
            <a:off x="554079" y="2048844"/>
            <a:ext cx="15146255" cy="6073600"/>
          </a:xfrm>
          <a:prstGeom prst="rect">
            <a:avLst/>
          </a:prstGeom>
        </p:spPr>
        <p:txBody>
          <a:bodyPr spcFirstLastPara="1" wrap="square" lIns="0" tIns="0" rIns="0" bIns="0" anchor="t" anchorCtr="0">
            <a:noAutofit/>
          </a:bodyPr>
          <a:lstStyle>
            <a:lvl1pPr marL="812617" lvl="0" indent="-553031" rtl="0">
              <a:spcBef>
                <a:spcPts val="1423"/>
              </a:spcBef>
              <a:spcAft>
                <a:spcPts val="0"/>
              </a:spcAft>
              <a:buSzPts val="1300"/>
              <a:buChar char="•"/>
              <a:defRPr/>
            </a:lvl1pPr>
            <a:lvl2pPr marL="1625235" lvl="1" indent="-541744" rtl="0">
              <a:spcBef>
                <a:spcPts val="1423"/>
              </a:spcBef>
              <a:spcAft>
                <a:spcPts val="0"/>
              </a:spcAft>
              <a:buSzPts val="1200"/>
              <a:buChar char="−"/>
              <a:defRPr/>
            </a:lvl2pPr>
            <a:lvl3pPr marL="2437851" lvl="2" indent="-541744" rtl="0">
              <a:spcBef>
                <a:spcPts val="356"/>
              </a:spcBef>
              <a:spcAft>
                <a:spcPts val="0"/>
              </a:spcAft>
              <a:buSzPts val="1200"/>
              <a:buChar char="−"/>
              <a:defRPr/>
            </a:lvl3pPr>
            <a:lvl4pPr marL="3250470" lvl="3" indent="-541744" rtl="0">
              <a:spcBef>
                <a:spcPts val="356"/>
              </a:spcBef>
              <a:spcAft>
                <a:spcPts val="0"/>
              </a:spcAft>
              <a:buSzPts val="1200"/>
              <a:buChar char="−"/>
              <a:defRPr/>
            </a:lvl4pPr>
            <a:lvl5pPr marL="4063086" lvl="4" indent="-541744" rtl="0">
              <a:spcBef>
                <a:spcPts val="356"/>
              </a:spcBef>
              <a:spcAft>
                <a:spcPts val="0"/>
              </a:spcAft>
              <a:buSzPts val="1200"/>
              <a:buChar char="−"/>
              <a:defRPr/>
            </a:lvl5pPr>
            <a:lvl6pPr marL="4875703" lvl="5" indent="-564318" rtl="0">
              <a:spcBef>
                <a:spcPts val="711"/>
              </a:spcBef>
              <a:spcAft>
                <a:spcPts val="0"/>
              </a:spcAft>
              <a:buSzPts val="1400"/>
              <a:buChar char="•"/>
              <a:defRPr/>
            </a:lvl6pPr>
            <a:lvl7pPr marL="5688319" lvl="6" indent="-564318" rtl="0">
              <a:spcBef>
                <a:spcPts val="711"/>
              </a:spcBef>
              <a:spcAft>
                <a:spcPts val="0"/>
              </a:spcAft>
              <a:buSzPts val="1400"/>
              <a:buChar char="•"/>
              <a:defRPr/>
            </a:lvl7pPr>
            <a:lvl8pPr marL="6500937" lvl="7" indent="-564318" rtl="0">
              <a:spcBef>
                <a:spcPts val="711"/>
              </a:spcBef>
              <a:spcAft>
                <a:spcPts val="0"/>
              </a:spcAft>
              <a:buSzPts val="1400"/>
              <a:buChar char="•"/>
              <a:defRPr/>
            </a:lvl8pPr>
            <a:lvl9pPr marL="7313555" lvl="8" indent="-564318" rtl="0">
              <a:spcBef>
                <a:spcPts val="711"/>
              </a:spcBef>
              <a:spcAft>
                <a:spcPts val="0"/>
              </a:spcAft>
              <a:buSzPts val="1400"/>
              <a:buChar char="•"/>
              <a:defRPr/>
            </a:lvl9pPr>
          </a:lstStyle>
          <a:p>
            <a:endParaRPr/>
          </a:p>
        </p:txBody>
      </p:sp>
      <p:sp>
        <p:nvSpPr>
          <p:cNvPr id="180" name="Google Shape;180;p32"/>
          <p:cNvSpPr txBox="1">
            <a:spLocks noGrp="1"/>
          </p:cNvSpPr>
          <p:nvPr>
            <p:ph type="sldNum" idx="12"/>
          </p:nvPr>
        </p:nvSpPr>
        <p:spPr>
          <a:xfrm>
            <a:off x="15060679" y="8290164"/>
            <a:ext cx="975371" cy="699733"/>
          </a:xfrm>
          <a:prstGeom prst="rect">
            <a:avLst/>
          </a:prstGeom>
        </p:spPr>
        <p:txBody>
          <a:bodyPr spcFirstLastPara="1" wrap="square" lIns="0" tIns="0" rIns="0" bIns="0"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no" smtClean="0"/>
              <a:pPr/>
              <a:t>‹#›</a:t>
            </a:fld>
            <a:endParaRPr lang="no"/>
          </a:p>
        </p:txBody>
      </p:sp>
    </p:spTree>
    <p:extLst>
      <p:ext uri="{BB962C8B-B14F-4D97-AF65-F5344CB8AC3E}">
        <p14:creationId xmlns:p14="http://schemas.microsoft.com/office/powerpoint/2010/main" val="30952140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7" name="Plassholder for tekst 2">
            <a:extLst>
              <a:ext uri="{FF2B5EF4-FFF2-40B4-BE49-F238E27FC236}">
                <a16:creationId xmlns:a16="http://schemas.microsoft.com/office/drawing/2014/main" id="{4BEC5DF5-4D65-4A72-AB3D-93B8B08D02D1}"/>
              </a:ext>
            </a:extLst>
          </p:cNvPr>
          <p:cNvSpPr>
            <a:spLocks noGrp="1"/>
          </p:cNvSpPr>
          <p:nvPr>
            <p:ph idx="1"/>
          </p:nvPr>
        </p:nvSpPr>
        <p:spPr>
          <a:xfrm>
            <a:off x="1023353" y="2087564"/>
            <a:ext cx="14400213" cy="6119813"/>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tittel 1">
            <a:extLst>
              <a:ext uri="{FF2B5EF4-FFF2-40B4-BE49-F238E27FC236}">
                <a16:creationId xmlns:a16="http://schemas.microsoft.com/office/drawing/2014/main" id="{2EC05465-F6FE-4E69-A821-716C330718F4}"/>
              </a:ext>
            </a:extLst>
          </p:cNvPr>
          <p:cNvSpPr>
            <a:spLocks noGrp="1"/>
          </p:cNvSpPr>
          <p:nvPr>
            <p:ph type="title" hasCustomPrompt="1"/>
          </p:nvPr>
        </p:nvSpPr>
        <p:spPr>
          <a:xfrm>
            <a:off x="927100" y="1077090"/>
            <a:ext cx="14400213" cy="692497"/>
          </a:xfrm>
          <a:prstGeom prst="rect">
            <a:avLst/>
          </a:prstGeom>
        </p:spPr>
        <p:txBody>
          <a:bodyPr vert="horz" lIns="0" tIns="0" rIns="0" bIns="0" rtlCol="0" anchor="t" anchorCtr="0">
            <a:noAutofit/>
          </a:bodyPr>
          <a:lstStyle>
            <a:lvl1pPr>
              <a:defRPr sz="4000"/>
            </a:lvl1pPr>
          </a:lstStyle>
          <a:p>
            <a:r>
              <a:rPr lang="nb-NO"/>
              <a:t>Klikk for å redigere tittelstil</a:t>
            </a:r>
          </a:p>
        </p:txBody>
      </p:sp>
    </p:spTree>
    <p:extLst>
      <p:ext uri="{BB962C8B-B14F-4D97-AF65-F5344CB8AC3E}">
        <p14:creationId xmlns:p14="http://schemas.microsoft.com/office/powerpoint/2010/main" val="40780990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9DAA810-4EEC-4D0F-B163-DFC963816F74}"/>
              </a:ext>
            </a:extLst>
          </p:cNvPr>
          <p:cNvSpPr>
            <a:spLocks noGrp="1"/>
          </p:cNvSpPr>
          <p:nvPr>
            <p:ph type="title" hasCustomPrompt="1"/>
          </p:nvPr>
        </p:nvSpPr>
        <p:spPr/>
        <p:txBody>
          <a:bodyPr rtlCol="0"/>
          <a:lstStyle>
            <a:lvl1pPr>
              <a:defRPr>
                <a:latin typeface="Trebuchet MS" panose="020B0603020202020204" pitchFamily="34" charset="0"/>
              </a:defRPr>
            </a:lvl1pPr>
          </a:lstStyle>
          <a:p>
            <a:pPr rtl="0"/>
            <a:r>
              <a:rPr lang="nb-NO"/>
              <a:t>Klikk for å redigere tittelstil i malen</a:t>
            </a:r>
          </a:p>
        </p:txBody>
      </p:sp>
      <p:sp>
        <p:nvSpPr>
          <p:cNvPr id="6" name="Plassholder for bunntekst 5">
            <a:extLst>
              <a:ext uri="{FF2B5EF4-FFF2-40B4-BE49-F238E27FC236}">
                <a16:creationId xmlns:a16="http://schemas.microsoft.com/office/drawing/2014/main" id="{61FB6233-FC4F-4628-BA1D-2782F6494517}"/>
              </a:ext>
            </a:extLst>
          </p:cNvPr>
          <p:cNvSpPr>
            <a:spLocks noGrp="1"/>
          </p:cNvSpPr>
          <p:nvPr>
            <p:ph type="ftr" sz="quarter" idx="10"/>
          </p:nvPr>
        </p:nvSpPr>
        <p:spPr/>
        <p:txBody>
          <a:bodyPr rtlCol="0"/>
          <a:lstStyle>
            <a:lvl1pPr>
              <a:defRPr>
                <a:latin typeface="Trebuchet MS" panose="020B0603020202020204" pitchFamily="34" charset="0"/>
              </a:defRPr>
            </a:lvl1pPr>
          </a:lstStyle>
          <a:p>
            <a:endParaRPr lang="nb-NO"/>
          </a:p>
        </p:txBody>
      </p:sp>
      <p:sp>
        <p:nvSpPr>
          <p:cNvPr id="7" name="Plassholder for lysbildenummer 6">
            <a:extLst>
              <a:ext uri="{FF2B5EF4-FFF2-40B4-BE49-F238E27FC236}">
                <a16:creationId xmlns:a16="http://schemas.microsoft.com/office/drawing/2014/main" id="{F4A1D367-A9C7-46F9-B78E-724D1BEC0650}"/>
              </a:ext>
            </a:extLst>
          </p:cNvPr>
          <p:cNvSpPr>
            <a:spLocks noGrp="1"/>
          </p:cNvSpPr>
          <p:nvPr>
            <p:ph type="sldNum" sz="quarter" idx="11"/>
          </p:nvPr>
        </p:nvSpPr>
        <p:spPr/>
        <p:txBody>
          <a:bodyPr rtlCol="0"/>
          <a:lstStyle>
            <a:lvl1pPr>
              <a:defRPr>
                <a:latin typeface="Trebuchet MS" panose="020B0603020202020204" pitchFamily="34" charset="0"/>
              </a:defRPr>
            </a:lvl1pPr>
          </a:lstStyle>
          <a:p>
            <a:fld id="{83ADE164-D45A-44D8-82C5-2E0962BB70DA}" type="slidenum">
              <a:rPr lang="nb-NO" smtClean="0"/>
              <a:pPr/>
              <a:t>‹#›</a:t>
            </a:fld>
            <a:endParaRPr lang="nb-NO"/>
          </a:p>
        </p:txBody>
      </p:sp>
    </p:spTree>
    <p:extLst>
      <p:ext uri="{BB962C8B-B14F-4D97-AF65-F5344CB8AC3E}">
        <p14:creationId xmlns:p14="http://schemas.microsoft.com/office/powerpoint/2010/main" val="176018196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pic>
        <p:nvPicPr>
          <p:cNvPr id="17" name="Bilde 16">
            <a:extLst>
              <a:ext uri="{FF2B5EF4-FFF2-40B4-BE49-F238E27FC236}">
                <a16:creationId xmlns:a16="http://schemas.microsoft.com/office/drawing/2014/main" id="{511E4814-F717-4C61-A710-7E70E4ACD4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
        <p:nvSpPr>
          <p:cNvPr id="21" name="TextBox 6">
            <a:extLst>
              <a:ext uri="{FF2B5EF4-FFF2-40B4-BE49-F238E27FC236}">
                <a16:creationId xmlns:a16="http://schemas.microsoft.com/office/drawing/2014/main" id="{1F4A38C3-D8E7-404C-9494-8A3CD442BE93}"/>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0112097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0"/>
            <a:ext cx="16256033" cy="9145143"/>
          </a:xfrm>
          <a:prstGeom prst="rect">
            <a:avLst/>
          </a:prstGeom>
        </p:spPr>
        <p:txBody>
          <a:bodyPr lIns="0" tIns="2880000" rIns="0" bIns="0" anchor="t" anchorCtr="1"/>
          <a:lstStyle>
            <a:lvl1pPr marL="0" indent="0" algn="ctr">
              <a:buNone/>
              <a:defRPr sz="3000"/>
            </a:lvl1pPr>
          </a:lstStyle>
          <a:p>
            <a:r>
              <a:rPr lang="nb-NO"/>
              <a:t>Klikk på ikonet for å legge til et bilde</a:t>
            </a:r>
          </a:p>
        </p:txBody>
      </p:sp>
    </p:spTree>
    <p:extLst>
      <p:ext uri="{BB962C8B-B14F-4D97-AF65-F5344CB8AC3E}">
        <p14:creationId xmlns:p14="http://schemas.microsoft.com/office/powerpoint/2010/main" val="32746727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87" y="0"/>
            <a:ext cx="16256000" cy="9144000"/>
          </a:xfrm>
          <a:prstGeom prst="rect">
            <a:avLst/>
          </a:prstGeom>
        </p:spPr>
      </p:pic>
    </p:spTree>
    <p:extLst>
      <p:ext uri="{BB962C8B-B14F-4D97-AF65-F5344CB8AC3E}">
        <p14:creationId xmlns:p14="http://schemas.microsoft.com/office/powerpoint/2010/main" val="38077796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Tree>
    <p:extLst>
      <p:ext uri="{BB962C8B-B14F-4D97-AF65-F5344CB8AC3E}">
        <p14:creationId xmlns:p14="http://schemas.microsoft.com/office/powerpoint/2010/main" val="1390536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21" name="TextBox 6">
            <a:extLst>
              <a:ext uri="{FF2B5EF4-FFF2-40B4-BE49-F238E27FC236}">
                <a16:creationId xmlns:a16="http://schemas.microsoft.com/office/drawing/2014/main" id="{1F4A38C3-D8E7-404C-9494-8A3CD442BE93}"/>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9FF79737-398F-402C-B43D-CC3B4D295C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581" y="469287"/>
            <a:ext cx="2065553" cy="698973"/>
          </a:xfrm>
          <a:prstGeom prst="rect">
            <a:avLst/>
          </a:prstGeom>
        </p:spPr>
      </p:pic>
    </p:spTree>
    <p:extLst>
      <p:ext uri="{BB962C8B-B14F-4D97-AF65-F5344CB8AC3E}">
        <p14:creationId xmlns:p14="http://schemas.microsoft.com/office/powerpoint/2010/main" val="24550233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tx2"/>
                </a:solidFill>
              </a:defRPr>
            </a:lvl1pPr>
          </a:lstStyle>
          <a:p>
            <a:r>
              <a:rPr lang="en-US"/>
              <a:t>Click to edit Master title style</a:t>
            </a:r>
            <a:endParaRPr lang="nb-NO"/>
          </a:p>
        </p:txBody>
      </p:sp>
      <p:sp>
        <p:nvSpPr>
          <p:cNvPr id="13" name="TextBox 6">
            <a:extLst>
              <a:ext uri="{FF2B5EF4-FFF2-40B4-BE49-F238E27FC236}">
                <a16:creationId xmlns:a16="http://schemas.microsoft.com/office/drawing/2014/main" id="{57D81D62-A055-4B15-80BD-929468DE16B6}"/>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7C1F27F4-9BAB-4737-9D61-BE140BB64D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581" y="469287"/>
            <a:ext cx="2065553" cy="698973"/>
          </a:xfrm>
          <a:prstGeom prst="rect">
            <a:avLst/>
          </a:prstGeom>
        </p:spPr>
      </p:pic>
      <p:sp>
        <p:nvSpPr>
          <p:cNvPr id="4" name="Text Placeholder 3">
            <a:extLst>
              <a:ext uri="{FF2B5EF4-FFF2-40B4-BE49-F238E27FC236}">
                <a16:creationId xmlns:a16="http://schemas.microsoft.com/office/drawing/2014/main" id="{32BD09FC-A9A0-442D-91AE-598C5525DF9D}"/>
              </a:ext>
            </a:extLst>
          </p:cNvPr>
          <p:cNvSpPr>
            <a:spLocks noGrp="1"/>
          </p:cNvSpPr>
          <p:nvPr>
            <p:ph type="body" sz="quarter" idx="10"/>
          </p:nvPr>
        </p:nvSpPr>
        <p:spPr>
          <a:xfrm>
            <a:off x="6411817" y="6311641"/>
            <a:ext cx="6869292" cy="1219200"/>
          </a:xfrm>
        </p:spPr>
        <p:txBody>
          <a:bodyPr>
            <a:noAutofit/>
          </a:bodyPr>
          <a:lstStyle>
            <a:lvl1pPr marL="0" indent="0">
              <a:buNone/>
              <a:defRPr sz="1866"/>
            </a:lvl1pPr>
            <a:lvl2pPr marL="539946" indent="0">
              <a:buNone/>
              <a:defRPr sz="1600"/>
            </a:lvl2pPr>
            <a:lvl3pPr marL="899910" indent="0">
              <a:buNone/>
              <a:defRPr sz="1600"/>
            </a:lvl3pPr>
            <a:lvl4pPr marL="1259874" indent="0">
              <a:buNone/>
              <a:defRPr sz="1400"/>
            </a:lvl4pPr>
            <a:lvl5pPr marL="1619838" indent="0">
              <a:buNone/>
              <a:defRPr sz="1333"/>
            </a:lvl5pPr>
          </a:lstStyle>
          <a:p>
            <a:pPr lvl="0"/>
            <a:r>
              <a:rPr lang="en-US"/>
              <a:t>Click to edit Master text styles</a:t>
            </a:r>
          </a:p>
        </p:txBody>
      </p:sp>
    </p:spTree>
    <p:extLst>
      <p:ext uri="{BB962C8B-B14F-4D97-AF65-F5344CB8AC3E}">
        <p14:creationId xmlns:p14="http://schemas.microsoft.com/office/powerpoint/2010/main" val="37859036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281E3279-D715-4827-9A13-05F2C36B5E51}"/>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D40304B4-7494-47D7-BF34-9B696FCFA5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17184469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accent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F2BBDBD0-71F1-4AEB-9367-24166E6A24AD}"/>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66B7CD85-C5A7-420A-9C64-DB45F6BFBB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24949273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329772AB-FAFB-49F4-A971-BC91E98F61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2078397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accent1"/>
                </a:solidFill>
              </a:defRPr>
            </a:lvl1pPr>
          </a:lstStyle>
          <a:p>
            <a:r>
              <a:rPr lang="en-US"/>
              <a:t>Click to edit Master title style</a:t>
            </a:r>
            <a:endParaRPr lang="nb-NO"/>
          </a:p>
        </p:txBody>
      </p:sp>
      <p:sp>
        <p:nvSpPr>
          <p:cNvPr id="6" name="TextBox 6">
            <a:extLst>
              <a:ext uri="{FF2B5EF4-FFF2-40B4-BE49-F238E27FC236}">
                <a16:creationId xmlns:a16="http://schemas.microsoft.com/office/drawing/2014/main" id="{4BDA1AFF-68C0-4650-8E52-6263233596B5}"/>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6">
            <a:extLst>
              <a:ext uri="{FF2B5EF4-FFF2-40B4-BE49-F238E27FC236}">
                <a16:creationId xmlns:a16="http://schemas.microsoft.com/office/drawing/2014/main" id="{6AFBCE82-E8EF-4BEB-96EB-374F370914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22495818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B30385E6-F6E9-42D3-B980-373913FC9D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1823129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E1A88B3D-2342-49C4-A88F-20F321BAF48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1759452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16256033" cy="4572572"/>
          </a:xfrm>
          <a:prstGeom prst="rect">
            <a:avLst/>
          </a:prstGeom>
        </p:spPr>
        <p:txBody>
          <a:bodyPr lIns="0" tIns="2880000" rIns="0" bIns="0" anchor="t" anchorCtr="1"/>
          <a:lstStyle>
            <a:lvl1pPr marL="0" indent="0" algn="ctr">
              <a:buNone/>
              <a:defRPr sz="3000"/>
            </a:lvl1pPr>
          </a:lstStyle>
          <a:p>
            <a:r>
              <a:rPr lang="nb-NO"/>
              <a:t>Klikk på ikonet for å legge til et bilde</a:t>
            </a:r>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2364232" y="5309936"/>
            <a:ext cx="12295196" cy="2971097"/>
          </a:xfrm>
          <a:prstGeom prst="rect">
            <a:avLst/>
          </a:prstGeom>
        </p:spPr>
        <p:txBody>
          <a:bodyPr lIns="0" tIns="0" rIns="0" bIns="0"/>
          <a:lstStyle>
            <a:lvl5pP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898856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5"/>
            <a:ext cx="6869292" cy="1530351"/>
          </a:xfrm>
          <a:prstGeom prst="rect">
            <a:avLst/>
          </a:prstGeom>
        </p:spPr>
        <p:txBody>
          <a:bodyPr anchor="b">
            <a:normAutofit/>
          </a:bodyPr>
          <a:lstStyle>
            <a:lvl1pPr algn="l">
              <a:lnSpc>
                <a:spcPct val="100000"/>
              </a:lnSpc>
              <a:defRPr sz="500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85AFD46E-4D96-40A2-B62B-C7D9D643F9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443" y="469287"/>
            <a:ext cx="2065553" cy="698973"/>
          </a:xfrm>
          <a:prstGeom prst="rect">
            <a:avLst/>
          </a:prstGeom>
        </p:spPr>
      </p:pic>
    </p:spTree>
    <p:extLst>
      <p:ext uri="{BB962C8B-B14F-4D97-AF65-F5344CB8AC3E}">
        <p14:creationId xmlns:p14="http://schemas.microsoft.com/office/powerpoint/2010/main" val="31626226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5E2B6C-DF6C-4062-B141-362A5B52FE87}"/>
              </a:ext>
            </a:extLst>
          </p:cNvPr>
          <p:cNvGraphicFramePr>
            <a:graphicFrameLocks noChangeAspect="1"/>
          </p:cNvGraphicFramePr>
          <p:nvPr userDrawn="1">
            <p:custDataLst>
              <p:tags r:id="rId1"/>
            </p:custDataLst>
            <p:extLst>
              <p:ext uri="{D42A27DB-BD31-4B8C-83A1-F6EECF244321}">
                <p14:modId xmlns:p14="http://schemas.microsoft.com/office/powerpoint/2010/main" val="1081157584"/>
              </p:ext>
            </p:extLst>
          </p:nvPr>
        </p:nvGraphicFramePr>
        <p:xfrm>
          <a:off x="2117" y="2118"/>
          <a:ext cx="2117" cy="211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B75E2B6C-DF6C-4062-B141-362A5B52FE87}"/>
                          </a:ext>
                        </a:extLst>
                      </p:cNvPr>
                      <p:cNvPicPr/>
                      <p:nvPr/>
                    </p:nvPicPr>
                    <p:blipFill>
                      <a:blip r:embed="rId4"/>
                      <a:stretch>
                        <a:fillRect/>
                      </a:stretch>
                    </p:blipFill>
                    <p:spPr>
                      <a:xfrm>
                        <a:off x="2117" y="2118"/>
                        <a:ext cx="2117" cy="211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4249A12-C1D2-45AC-8E33-9AC8889C18DD}"/>
              </a:ext>
            </a:extLst>
          </p:cNvPr>
          <p:cNvSpPr/>
          <p:nvPr userDrawn="1"/>
        </p:nvSpPr>
        <p:spPr>
          <a:xfrm>
            <a:off x="0" y="-5101"/>
            <a:ext cx="5296862" cy="9149101"/>
          </a:xfrm>
          <a:prstGeom prst="rect">
            <a:avLst/>
          </a:prstGeom>
          <a:solidFill>
            <a:srgbClr val="1E2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018">
              <a:solidFill>
                <a:schemeClr val="bg1"/>
              </a:solidFill>
            </a:endParaRPr>
          </a:p>
        </p:txBody>
      </p:sp>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5490010" y="1269601"/>
            <a:ext cx="9694425" cy="71598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Plassholder for tittel 1">
            <a:extLst>
              <a:ext uri="{FF2B5EF4-FFF2-40B4-BE49-F238E27FC236}">
                <a16:creationId xmlns:a16="http://schemas.microsoft.com/office/drawing/2014/main" id="{758EB8A5-7F81-4483-A711-E1C9F1B9A1FA}"/>
              </a:ext>
            </a:extLst>
          </p:cNvPr>
          <p:cNvSpPr>
            <a:spLocks noGrp="1"/>
          </p:cNvSpPr>
          <p:nvPr>
            <p:ph type="title" hasCustomPrompt="1"/>
          </p:nvPr>
        </p:nvSpPr>
        <p:spPr>
          <a:xfrm>
            <a:off x="887810" y="1269600"/>
            <a:ext cx="4072558" cy="2877339"/>
          </a:xfrm>
          <a:prstGeom prst="rect">
            <a:avLst/>
          </a:prstGeom>
        </p:spPr>
        <p:txBody>
          <a:bodyPr vert="horz" lIns="0" tIns="0" rIns="0" bIns="0" rtlCol="0" anchor="t" anchorCtr="0">
            <a:noAutofit/>
          </a:bodyPr>
          <a:lstStyle>
            <a:lvl1pPr>
              <a:defRPr sz="4266">
                <a:solidFill>
                  <a:schemeClr val="bg1"/>
                </a:solidFill>
              </a:defRPr>
            </a:lvl1pPr>
          </a:lstStyle>
          <a:p>
            <a:r>
              <a:rPr lang="nb-NO"/>
              <a:t>Klikk for å redigere tittelstil</a:t>
            </a:r>
          </a:p>
        </p:txBody>
      </p:sp>
      <p:pic>
        <p:nvPicPr>
          <p:cNvPr id="8" name="Picture 2" descr="Logo | Profilveileder">
            <a:extLst>
              <a:ext uri="{FF2B5EF4-FFF2-40B4-BE49-F238E27FC236}">
                <a16:creationId xmlns:a16="http://schemas.microsoft.com/office/drawing/2014/main" id="{6BD3A9D1-5C79-46DA-AC53-107BA2C9D52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51295" t="13561" r="2030" b="11007"/>
          <a:stretch/>
        </p:blipFill>
        <p:spPr bwMode="auto">
          <a:xfrm>
            <a:off x="854203" y="469225"/>
            <a:ext cx="1898521" cy="501619"/>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57290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ittel og innho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1FA943-07F2-60FC-7E94-32E09E3355D1}"/>
              </a:ext>
            </a:extLst>
          </p:cNvPr>
          <p:cNvGraphicFramePr>
            <a:graphicFrameLocks noChangeAspect="1"/>
          </p:cNvGraphicFramePr>
          <p:nvPr userDrawn="1">
            <p:custDataLst>
              <p:tags r:id="rId1"/>
            </p:custDataLst>
            <p:extLst>
              <p:ext uri="{D42A27DB-BD31-4B8C-83A1-F6EECF244321}">
                <p14:modId xmlns:p14="http://schemas.microsoft.com/office/powerpoint/2010/main" val="3370710682"/>
              </p:ext>
            </p:extLst>
          </p:nvPr>
        </p:nvGraphicFramePr>
        <p:xfrm>
          <a:off x="2117" y="2118"/>
          <a:ext cx="2117" cy="211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D21FA943-07F2-60FC-7E94-32E09E3355D1}"/>
                          </a:ext>
                        </a:extLst>
                      </p:cNvPr>
                      <p:cNvPicPr/>
                      <p:nvPr/>
                    </p:nvPicPr>
                    <p:blipFill>
                      <a:blip r:embed="rId4"/>
                      <a:stretch>
                        <a:fillRect/>
                      </a:stretch>
                    </p:blipFill>
                    <p:spPr>
                      <a:xfrm>
                        <a:off x="2117" y="2118"/>
                        <a:ext cx="2117" cy="211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4249A12-C1D2-45AC-8E33-9AC8889C18DD}"/>
              </a:ext>
            </a:extLst>
          </p:cNvPr>
          <p:cNvSpPr/>
          <p:nvPr userDrawn="1"/>
        </p:nvSpPr>
        <p:spPr>
          <a:xfrm>
            <a:off x="0" y="-5101"/>
            <a:ext cx="16254413" cy="9149101"/>
          </a:xfrm>
          <a:prstGeom prst="rect">
            <a:avLst/>
          </a:prstGeom>
          <a:solidFill>
            <a:srgbClr val="1E2B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018">
              <a:solidFill>
                <a:schemeClr val="bg1"/>
              </a:solidFill>
            </a:endParaRPr>
          </a:p>
        </p:txBody>
      </p:sp>
      <p:pic>
        <p:nvPicPr>
          <p:cNvPr id="8" name="Picture 2" descr="Logo | Profilveileder">
            <a:extLst>
              <a:ext uri="{FF2B5EF4-FFF2-40B4-BE49-F238E27FC236}">
                <a16:creationId xmlns:a16="http://schemas.microsoft.com/office/drawing/2014/main" id="{6BD3A9D1-5C79-46DA-AC53-107BA2C9D52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51295" t="13561" r="2030" b="11007"/>
          <a:stretch/>
        </p:blipFill>
        <p:spPr bwMode="auto">
          <a:xfrm>
            <a:off x="854203" y="469225"/>
            <a:ext cx="1898521" cy="50161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 name="Plassholder for tittel 1">
            <a:extLst>
              <a:ext uri="{FF2B5EF4-FFF2-40B4-BE49-F238E27FC236}">
                <a16:creationId xmlns:a16="http://schemas.microsoft.com/office/drawing/2014/main" id="{A579FEA5-C332-74F4-1A53-4D28CCAF1921}"/>
              </a:ext>
            </a:extLst>
          </p:cNvPr>
          <p:cNvSpPr>
            <a:spLocks noGrp="1"/>
          </p:cNvSpPr>
          <p:nvPr>
            <p:ph type="title" hasCustomPrompt="1"/>
          </p:nvPr>
        </p:nvSpPr>
        <p:spPr>
          <a:xfrm>
            <a:off x="887810" y="1269601"/>
            <a:ext cx="11289750" cy="709484"/>
          </a:xfrm>
          <a:prstGeom prst="rect">
            <a:avLst/>
          </a:prstGeom>
        </p:spPr>
        <p:txBody>
          <a:bodyPr vert="horz" lIns="0" tIns="0" rIns="0" bIns="0" rtlCol="0" anchor="t" anchorCtr="0">
            <a:noAutofit/>
          </a:bodyPr>
          <a:lstStyle>
            <a:lvl1pPr>
              <a:defRPr sz="4266">
                <a:solidFill>
                  <a:schemeClr val="bg1"/>
                </a:solidFill>
              </a:defRPr>
            </a:lvl1pPr>
          </a:lstStyle>
          <a:p>
            <a:r>
              <a:rPr lang="nb-NO"/>
              <a:t>Klikk for å redigere tittelstil</a:t>
            </a:r>
          </a:p>
        </p:txBody>
      </p:sp>
      <p:pic>
        <p:nvPicPr>
          <p:cNvPr id="5" name="Bilde 5">
            <a:extLst>
              <a:ext uri="{FF2B5EF4-FFF2-40B4-BE49-F238E27FC236}">
                <a16:creationId xmlns:a16="http://schemas.microsoft.com/office/drawing/2014/main" id="{86E60FA7-40C3-0008-64E5-D3BB3EE87A14}"/>
              </a:ext>
            </a:extLst>
          </p:cNvPr>
          <p:cNvPicPr>
            <a:picLocks noChangeAspect="1"/>
          </p:cNvPicPr>
          <p:nvPr userDrawn="1"/>
        </p:nvPicPr>
        <p:blipFill>
          <a:blip r:embed="rId6"/>
          <a:stretch>
            <a:fillRect/>
          </a:stretch>
        </p:blipFill>
        <p:spPr>
          <a:xfrm>
            <a:off x="15292130" y="353161"/>
            <a:ext cx="798095" cy="733747"/>
          </a:xfrm>
          <a:prstGeom prst="flowChartConnector">
            <a:avLst/>
          </a:prstGeom>
          <a:solidFill>
            <a:srgbClr val="1E2B3C"/>
          </a:solidFill>
        </p:spPr>
      </p:pic>
    </p:spTree>
    <p:extLst>
      <p:ext uri="{BB962C8B-B14F-4D97-AF65-F5344CB8AC3E}">
        <p14:creationId xmlns:p14="http://schemas.microsoft.com/office/powerpoint/2010/main" val="2083060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Tittel og innhold">
    <p:spTree>
      <p:nvGrpSpPr>
        <p:cNvPr id="1" name=""/>
        <p:cNvGrpSpPr/>
        <p:nvPr/>
      </p:nvGrpSpPr>
      <p:grpSpPr>
        <a:xfrm>
          <a:off x="0" y="0"/>
          <a:ext cx="0" cy="0"/>
          <a:chOff x="0" y="0"/>
          <a:chExt cx="0" cy="0"/>
        </a:xfrm>
      </p:grpSpPr>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1069974" y="2484439"/>
            <a:ext cx="14114462" cy="59450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Plassholder for tittel 1">
            <a:extLst>
              <a:ext uri="{FF2B5EF4-FFF2-40B4-BE49-F238E27FC236}">
                <a16:creationId xmlns:a16="http://schemas.microsoft.com/office/drawing/2014/main" id="{758EB8A5-7F81-4483-A711-E1C9F1B9A1FA}"/>
              </a:ext>
            </a:extLst>
          </p:cNvPr>
          <p:cNvSpPr>
            <a:spLocks noGrp="1"/>
          </p:cNvSpPr>
          <p:nvPr>
            <p:ph type="title" hasCustomPrompt="1"/>
          </p:nvPr>
        </p:nvSpPr>
        <p:spPr>
          <a:xfrm>
            <a:off x="1069976" y="1269601"/>
            <a:ext cx="14114462" cy="692497"/>
          </a:xfrm>
          <a:prstGeom prst="rect">
            <a:avLst/>
          </a:prstGeom>
        </p:spPr>
        <p:txBody>
          <a:bodyPr vert="horz" lIns="0" tIns="0" rIns="0" bIns="0" rtlCol="0" anchor="t" anchorCtr="0">
            <a:noAutofit/>
          </a:bodyPr>
          <a:lstStyle>
            <a:lvl1pPr>
              <a:defRPr sz="4000"/>
            </a:lvl1pPr>
          </a:lstStyle>
          <a:p>
            <a:r>
              <a:rPr lang="nb-NO"/>
              <a:t>Klikk for å redigere tittelstil</a:t>
            </a:r>
          </a:p>
        </p:txBody>
      </p:sp>
    </p:spTree>
    <p:extLst>
      <p:ext uri="{BB962C8B-B14F-4D97-AF65-F5344CB8AC3E}">
        <p14:creationId xmlns:p14="http://schemas.microsoft.com/office/powerpoint/2010/main" val="8481531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1069974" y="2273163"/>
            <a:ext cx="6934523" cy="6156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8249914" y="2273163"/>
            <a:ext cx="6934523" cy="6156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hasCustomPrompt="1"/>
          </p:nvPr>
        </p:nvSpPr>
        <p:spPr>
          <a:xfrm>
            <a:off x="1069976" y="1269601"/>
            <a:ext cx="14114462" cy="692497"/>
          </a:xfrm>
          <a:prstGeom prst="rect">
            <a:avLst/>
          </a:prstGeom>
        </p:spPr>
        <p:txBody>
          <a:bodyPr vert="horz" lIns="0" tIns="0" rIns="0" bIns="0" rtlCol="0" anchor="t" anchorCtr="0">
            <a:noAutofit/>
          </a:bodyPr>
          <a:lstStyle>
            <a:lvl1pPr>
              <a:defRPr sz="4000"/>
            </a:lvl1pPr>
          </a:lstStyle>
          <a:p>
            <a:r>
              <a:rPr lang="nb-NO"/>
              <a:t>Klikk for å redigere tittelstil</a:t>
            </a:r>
          </a:p>
        </p:txBody>
      </p:sp>
    </p:spTree>
    <p:extLst>
      <p:ext uri="{BB962C8B-B14F-4D97-AF65-F5344CB8AC3E}">
        <p14:creationId xmlns:p14="http://schemas.microsoft.com/office/powerpoint/2010/main" val="25703422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429">
          <p15:clr>
            <a:srgbClr val="FBAE40"/>
          </p15:clr>
        </p15:guide>
        <p15:guide id="2" pos="674">
          <p15:clr>
            <a:srgbClr val="FBAE40"/>
          </p15:clr>
        </p15:guide>
        <p15:guide id="3" orient="horz" pos="5307">
          <p15:clr>
            <a:srgbClr val="FBAE40"/>
          </p15:clr>
        </p15:guide>
        <p15:guide id="4" pos="9565">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1" y="2"/>
            <a:ext cx="16256033" cy="9145143"/>
          </a:xfrm>
          <a:prstGeom prst="rect">
            <a:avLst/>
          </a:prstGeom>
        </p:spPr>
        <p:txBody>
          <a:bodyPr lIns="0" tIns="2880000" rIns="0" bIns="0" anchor="t" anchorCtr="1"/>
          <a:lstStyle>
            <a:lvl1pPr marL="0" indent="0" algn="ctr">
              <a:buNone/>
              <a:defRPr sz="3000"/>
            </a:lvl1pPr>
          </a:lstStyle>
          <a:p>
            <a:r>
              <a:rPr lang="en-US"/>
              <a:t>Click icon to add picture</a:t>
            </a:r>
            <a:endParaRPr lang="nb-NO"/>
          </a:p>
        </p:txBody>
      </p:sp>
    </p:spTree>
    <p:extLst>
      <p:ext uri="{BB962C8B-B14F-4D97-AF65-F5344CB8AC3E}">
        <p14:creationId xmlns:p14="http://schemas.microsoft.com/office/powerpoint/2010/main" val="1368998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1" y="1"/>
            <a:ext cx="16256033" cy="4572572"/>
          </a:xfrm>
          <a:prstGeom prst="rect">
            <a:avLst/>
          </a:prstGeom>
        </p:spPr>
        <p:txBody>
          <a:bodyPr lIns="0" tIns="2880000" rIns="0" bIns="0" anchor="t" anchorCtr="1"/>
          <a:lstStyle>
            <a:lvl1pPr marL="0" indent="0" algn="ctr">
              <a:buNone/>
              <a:defRPr sz="3000"/>
            </a:lvl1pPr>
          </a:lstStyle>
          <a:p>
            <a:r>
              <a:rPr lang="en-US"/>
              <a:t>Click icon to add picture</a:t>
            </a:r>
            <a:endParaRPr lang="nb-NO"/>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2364232" y="5309937"/>
            <a:ext cx="12295196" cy="2971097"/>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0344974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p:nvSpPr>
        <p:spPr>
          <a:xfrm>
            <a:off x="1944914" y="101601"/>
            <a:ext cx="13628915" cy="10740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8124598" y="2"/>
            <a:ext cx="8129816" cy="9145143"/>
          </a:xfrm>
          <a:prstGeom prst="rect">
            <a:avLst/>
          </a:prstGeom>
        </p:spPr>
        <p:txBody>
          <a:bodyPr lIns="0" tIns="720000" rIns="0" bIns="0" anchor="t" anchorCtr="1"/>
          <a:lstStyle>
            <a:lvl1pPr marL="0" indent="0" algn="ctr">
              <a:buNone/>
              <a:defRPr sz="3000"/>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1590" y="566057"/>
            <a:ext cx="6480810" cy="8049032"/>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646021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p:nvSpPr>
        <p:spPr>
          <a:xfrm>
            <a:off x="1306286" y="130630"/>
            <a:ext cx="14557828" cy="19158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2573"/>
            <a:ext cx="8129816" cy="4571428"/>
          </a:xfrm>
          <a:prstGeom prst="rect">
            <a:avLst/>
          </a:prstGeom>
        </p:spPr>
        <p:txBody>
          <a:bodyPr lIns="0" tIns="720000" rIns="0" bIns="0" anchor="t" anchorCtr="1"/>
          <a:lstStyle>
            <a:lvl1pPr marL="0" indent="0" algn="ctr">
              <a:buNone/>
              <a:defRPr sz="3000"/>
            </a:lvl1pPr>
          </a:lstStyle>
          <a:p>
            <a:r>
              <a:rPr lang="en-US"/>
              <a:t>Click icon to add picture</a:t>
            </a:r>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338379"/>
            <a:ext cx="5760720" cy="2520315"/>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1"/>
            <a:ext cx="8124596" cy="4572572"/>
          </a:xfrm>
          <a:prstGeom prst="rect">
            <a:avLst/>
          </a:prstGeom>
        </p:spPr>
        <p:txBody>
          <a:bodyPr lIns="0" tIns="720000" rIns="0" bIns="0" anchor="t" anchorCtr="1"/>
          <a:lstStyle>
            <a:lvl1pPr marL="0" indent="0" algn="ctr">
              <a:buNone/>
              <a:defRPr sz="3000"/>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6" y="4856072"/>
            <a:ext cx="5760720" cy="2520315"/>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5901563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018"/>
            <a:ext cx="16254413" cy="9141965"/>
          </a:xfrm>
          <a:prstGeom prst="rect">
            <a:avLst/>
          </a:prstGeom>
        </p:spPr>
      </p:pic>
      <p:sp>
        <p:nvSpPr>
          <p:cNvPr id="6" name="Tittel 1"/>
          <p:cNvSpPr>
            <a:spLocks noGrp="1"/>
          </p:cNvSpPr>
          <p:nvPr>
            <p:ph type="title"/>
          </p:nvPr>
        </p:nvSpPr>
        <p:spPr>
          <a:xfrm>
            <a:off x="2365964" y="3681199"/>
            <a:ext cx="6120080" cy="1419611"/>
          </a:xfrm>
          <a:prstGeom prst="rect">
            <a:avLst/>
          </a:prstGeom>
        </p:spPr>
        <p:txBody>
          <a:bodyPr/>
          <a:lstStyle>
            <a:lvl1pPr>
              <a:defRPr>
                <a:solidFill>
                  <a:schemeClr val="bg1"/>
                </a:solidFill>
              </a:defRPr>
            </a:lvl1pPr>
          </a:lstStyle>
          <a:p>
            <a:r>
              <a:rPr lang="en-US"/>
              <a:t>Click to edit Master title style</a:t>
            </a:r>
            <a:endParaRPr lang="nb-NO"/>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65964" y="600107"/>
            <a:ext cx="439149" cy="440948"/>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7399795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userDrawn="1"/>
        </p:nvSpPr>
        <p:spPr>
          <a:xfrm>
            <a:off x="1944914" y="101600"/>
            <a:ext cx="13628915" cy="10740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8124597" y="0"/>
            <a:ext cx="8129816" cy="9145143"/>
          </a:xfrm>
          <a:prstGeom prst="rect">
            <a:avLst/>
          </a:prstGeom>
        </p:spPr>
        <p:txBody>
          <a:bodyPr lIns="0" tIns="720000" rIns="0" bIns="0" anchor="t" anchorCtr="1"/>
          <a:lstStyle>
            <a:lvl1pPr marL="0" indent="0" algn="ctr">
              <a:buNone/>
              <a:defRPr sz="3000"/>
            </a:lvl1pPr>
          </a:lstStyle>
          <a:p>
            <a:r>
              <a:rPr lang="nb-NO"/>
              <a:t>Klikk på ikonet for å legge til et bilde</a:t>
            </a:r>
            <a:endParaRPr lang="nb-NO" dirty="0"/>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1589" y="566057"/>
            <a:ext cx="6480810" cy="8049032"/>
          </a:xfrm>
          <a:prstGeom prst="rect">
            <a:avLst/>
          </a:prstGeom>
        </p:spPr>
        <p:txBody>
          <a:bodyPr lIns="0" tIns="0" rIns="0" bIns="0"/>
          <a:lstStyle>
            <a:lvl5pP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964467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018"/>
            <a:ext cx="16254413" cy="9141965"/>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7207" y="4295661"/>
            <a:ext cx="1489437" cy="1495540"/>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p:nvSpPr>
        <p:spPr>
          <a:xfrm>
            <a:off x="8054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Digitaliseringsdirektoratet</a:t>
            </a:r>
          </a:p>
          <a:p>
            <a:pPr>
              <a:lnSpc>
                <a:spcPct val="150000"/>
              </a:lnSpc>
              <a:spcBef>
                <a:spcPts val="0"/>
              </a:spcBef>
            </a:pPr>
            <a:r>
              <a:rPr lang="nb-NO" sz="1200" b="0" err="1">
                <a:solidFill>
                  <a:schemeClr val="bg1"/>
                </a:solidFill>
              </a:rPr>
              <a:t>postmottak@digdir.no</a:t>
            </a:r>
            <a:endParaRPr lang="nb-NO" sz="1200" b="0">
              <a:solidFill>
                <a:schemeClr val="bg1"/>
              </a:solidFill>
            </a:endParaRPr>
          </a:p>
          <a:p>
            <a:pPr>
              <a:lnSpc>
                <a:spcPct val="150000"/>
              </a:lnSpc>
              <a:spcBef>
                <a:spcPts val="0"/>
              </a:spcBef>
            </a:pPr>
            <a:r>
              <a:rPr lang="nb-NO" sz="1200" b="0">
                <a:solidFill>
                  <a:schemeClr val="bg1"/>
                </a:solidFill>
              </a:rPr>
              <a:t>22 45 10 00</a:t>
            </a:r>
          </a:p>
          <a:p>
            <a:pPr>
              <a:lnSpc>
                <a:spcPct val="150000"/>
              </a:lnSpc>
              <a:spcBef>
                <a:spcPts val="0"/>
              </a:spcBef>
            </a:pPr>
            <a:r>
              <a:rPr lang="nb-NO" sz="1200"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p:nvSpPr>
        <p:spPr>
          <a:xfrm>
            <a:off x="11102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Besøksadresser:</a:t>
            </a:r>
          </a:p>
          <a:p>
            <a:pPr>
              <a:lnSpc>
                <a:spcPct val="150000"/>
              </a:lnSpc>
              <a:spcBef>
                <a:spcPts val="0"/>
              </a:spcBef>
            </a:pPr>
            <a:r>
              <a:rPr lang="nb-NO" sz="1200" b="1">
                <a:solidFill>
                  <a:schemeClr val="bg1"/>
                </a:solidFill>
              </a:rPr>
              <a:t>Industriveien 1, 8900 Brønnøysund</a:t>
            </a:r>
          </a:p>
          <a:p>
            <a:pPr>
              <a:lnSpc>
                <a:spcPct val="150000"/>
              </a:lnSpc>
              <a:spcBef>
                <a:spcPts val="0"/>
              </a:spcBef>
            </a:pPr>
            <a:r>
              <a:rPr lang="nb-NO" sz="1200" b="1">
                <a:solidFill>
                  <a:schemeClr val="bg1"/>
                </a:solidFill>
              </a:rPr>
              <a:t>Skrivarevegen 2, 6863 Leikanger</a:t>
            </a:r>
          </a:p>
          <a:p>
            <a:pPr>
              <a:lnSpc>
                <a:spcPct val="150000"/>
              </a:lnSpc>
              <a:spcBef>
                <a:spcPts val="0"/>
              </a:spcBef>
            </a:pPr>
            <a:r>
              <a:rPr lang="nb-NO" sz="1200" b="1">
                <a:solidFill>
                  <a:schemeClr val="bg1"/>
                </a:solidFill>
              </a:rPr>
              <a:t>Grev Wedels Plass 9, 0151 Oslo</a:t>
            </a:r>
            <a:endParaRPr lang="nb-NO" sz="1200" b="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p:nvSpPr>
        <p:spPr>
          <a:xfrm>
            <a:off x="3393644" y="7302500"/>
            <a:ext cx="3048000" cy="335156"/>
          </a:xfrm>
          <a:prstGeom prst="rect">
            <a:avLst/>
          </a:prstGeom>
          <a:noFill/>
        </p:spPr>
        <p:txBody>
          <a:bodyPr wrap="square" rtlCol="0">
            <a:spAutoFit/>
          </a:bodyPr>
          <a:lstStyle/>
          <a:p>
            <a:pPr>
              <a:lnSpc>
                <a:spcPct val="150000"/>
              </a:lnSpc>
              <a:spcBef>
                <a:spcPts val="0"/>
              </a:spcBef>
            </a:pPr>
            <a:r>
              <a:rPr lang="nb-NO" sz="1200" b="1" err="1">
                <a:solidFill>
                  <a:srgbClr val="1E2B3C"/>
                </a:solidFill>
              </a:rPr>
              <a:t>digdir.no</a:t>
            </a:r>
            <a:endParaRPr lang="nb-NO" sz="1200" b="0">
              <a:solidFill>
                <a:srgbClr val="1E2B3C"/>
              </a:solidFill>
            </a:endParaRPr>
          </a:p>
        </p:txBody>
      </p:sp>
    </p:spTree>
    <p:extLst>
      <p:ext uri="{BB962C8B-B14F-4D97-AF65-F5344CB8AC3E}">
        <p14:creationId xmlns:p14="http://schemas.microsoft.com/office/powerpoint/2010/main" val="7182804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F730D8-A070-420D-9BF5-DBB6859B770D}"/>
              </a:ext>
            </a:extLst>
          </p:cNvPr>
          <p:cNvGraphicFramePr>
            <a:graphicFrameLocks noChangeAspect="1"/>
          </p:cNvGraphicFramePr>
          <p:nvPr userDrawn="1">
            <p:custDataLst>
              <p:tags r:id="rId1"/>
            </p:custDataLst>
            <p:extLst>
              <p:ext uri="{D42A27DB-BD31-4B8C-83A1-F6EECF244321}">
                <p14:modId xmlns:p14="http://schemas.microsoft.com/office/powerpoint/2010/main" val="2598479409"/>
              </p:ext>
            </p:extLst>
          </p:nvPr>
        </p:nvGraphicFramePr>
        <p:xfrm>
          <a:off x="2117" y="2118"/>
          <a:ext cx="2117" cy="211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9EF730D8-A070-420D-9BF5-DBB6859B770D}"/>
                          </a:ext>
                        </a:extLst>
                      </p:cNvPr>
                      <p:cNvPicPr/>
                      <p:nvPr/>
                    </p:nvPicPr>
                    <p:blipFill>
                      <a:blip r:embed="rId4"/>
                      <a:stretch>
                        <a:fillRect/>
                      </a:stretch>
                    </p:blipFill>
                    <p:spPr>
                      <a:xfrm>
                        <a:off x="2117" y="2118"/>
                        <a:ext cx="2117" cy="2117"/>
                      </a:xfrm>
                      <a:prstGeom prst="rect">
                        <a:avLst/>
                      </a:prstGeom>
                    </p:spPr>
                  </p:pic>
                </p:oleObj>
              </mc:Fallback>
            </mc:AlternateContent>
          </a:graphicData>
        </a:graphic>
      </p:graphicFrame>
      <p:sp>
        <p:nvSpPr>
          <p:cNvPr id="7" name="Plassholder for tittel 1">
            <a:extLst>
              <a:ext uri="{FF2B5EF4-FFF2-40B4-BE49-F238E27FC236}">
                <a16:creationId xmlns:a16="http://schemas.microsoft.com/office/drawing/2014/main" id="{D354E75C-D374-453F-964A-F63F4FF44A56}"/>
              </a:ext>
            </a:extLst>
          </p:cNvPr>
          <p:cNvSpPr>
            <a:spLocks noGrp="1"/>
          </p:cNvSpPr>
          <p:nvPr>
            <p:ph type="title" hasCustomPrompt="1"/>
          </p:nvPr>
        </p:nvSpPr>
        <p:spPr>
          <a:xfrm>
            <a:off x="889778" y="1272461"/>
            <a:ext cx="3721297" cy="692497"/>
          </a:xfrm>
          <a:prstGeom prst="rect">
            <a:avLst/>
          </a:prstGeom>
        </p:spPr>
        <p:txBody>
          <a:bodyPr vert="horz" lIns="0" tIns="0" rIns="0" bIns="0" rtlCol="0" anchor="t" anchorCtr="0">
            <a:noAutofit/>
          </a:bodyPr>
          <a:lstStyle>
            <a:lvl1pPr>
              <a:defRPr sz="3733">
                <a:solidFill>
                  <a:schemeClr val="bg1"/>
                </a:solidFill>
              </a:defRPr>
            </a:lvl1pPr>
          </a:lstStyle>
          <a:p>
            <a:r>
              <a:rPr lang="nb-NO"/>
              <a:t>Klikk for å redigere tittelstil</a:t>
            </a:r>
          </a:p>
        </p:txBody>
      </p:sp>
      <p:pic>
        <p:nvPicPr>
          <p:cNvPr id="8" name="Picture 2" descr="Logo | Profilveileder">
            <a:extLst>
              <a:ext uri="{FF2B5EF4-FFF2-40B4-BE49-F238E27FC236}">
                <a16:creationId xmlns:a16="http://schemas.microsoft.com/office/drawing/2014/main" id="{EDE53588-288B-4FE4-A766-62C79B1234A4}"/>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51295" t="13561" r="2030" b="11007"/>
          <a:stretch/>
        </p:blipFill>
        <p:spPr bwMode="auto">
          <a:xfrm>
            <a:off x="854915" y="469625"/>
            <a:ext cx="1898336" cy="501571"/>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9918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3067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userDrawn="1"/>
        </p:nvSpPr>
        <p:spPr>
          <a:xfrm>
            <a:off x="1306286" y="130629"/>
            <a:ext cx="14557828" cy="19158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2572"/>
            <a:ext cx="8129816" cy="4571428"/>
          </a:xfrm>
          <a:prstGeom prst="rect">
            <a:avLst/>
          </a:prstGeom>
        </p:spPr>
        <p:txBody>
          <a:bodyPr lIns="0" tIns="720000" rIns="0" bIns="0" anchor="t" anchorCtr="1"/>
          <a:lstStyle>
            <a:lvl1pPr marL="0" indent="0" algn="ctr">
              <a:buNone/>
              <a:defRPr sz="3000"/>
            </a:lvl1pPr>
          </a:lstStyle>
          <a:p>
            <a:r>
              <a:rPr lang="nb-NO"/>
              <a:t>Klikk på ikonet for å legge til et bilde</a:t>
            </a:r>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338378"/>
            <a:ext cx="5760720" cy="2520315"/>
          </a:xfrm>
          <a:prstGeom prst="rect">
            <a:avLst/>
          </a:prstGeom>
        </p:spPr>
        <p:txBody>
          <a:bodyPr lIns="0" tIns="0" rIns="0" bIns="0"/>
          <a:lstStyle>
            <a:lvl5pP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0"/>
            <a:ext cx="8124596" cy="4572572"/>
          </a:xfrm>
          <a:prstGeom prst="rect">
            <a:avLst/>
          </a:prstGeom>
        </p:spPr>
        <p:txBody>
          <a:bodyPr lIns="0" tIns="720000" rIns="0" bIns="0" anchor="t" anchorCtr="1"/>
          <a:lstStyle>
            <a:lvl1pPr marL="0" indent="0" algn="ctr">
              <a:buNone/>
              <a:defRPr sz="3000"/>
            </a:lvl1pPr>
          </a:lstStyle>
          <a:p>
            <a:r>
              <a:rPr lang="nb-NO"/>
              <a:t>Klikk på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4856071"/>
            <a:ext cx="5760720" cy="2520315"/>
          </a:xfrm>
          <a:prstGeom prst="rect">
            <a:avLst/>
          </a:prstGeom>
        </p:spPr>
        <p:txBody>
          <a:bodyPr lIns="0" tIns="0" rIns="0" bIns="0"/>
          <a:lstStyle>
            <a:lvl5pP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1506090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ataside">
    <p:spTree>
      <p:nvGrpSpPr>
        <p:cNvPr id="1" name=""/>
        <p:cNvGrpSpPr/>
        <p:nvPr/>
      </p:nvGrpSpPr>
      <p:grpSpPr>
        <a:xfrm>
          <a:off x="0" y="0"/>
          <a:ext cx="0" cy="0"/>
          <a:chOff x="0" y="0"/>
          <a:chExt cx="0" cy="0"/>
        </a:xfrm>
      </p:grpSpPr>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2365830" y="900110"/>
            <a:ext cx="11771736" cy="7532689"/>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10027183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8630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Tree>
    <p:extLst>
      <p:ext uri="{BB962C8B-B14F-4D97-AF65-F5344CB8AC3E}">
        <p14:creationId xmlns:p14="http://schemas.microsoft.com/office/powerpoint/2010/main" val="17123001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7"/>
            <a:ext cx="16254413" cy="9141965"/>
          </a:xfrm>
          <a:prstGeom prst="rect">
            <a:avLst/>
          </a:prstGeom>
        </p:spPr>
      </p:pic>
      <p:sp>
        <p:nvSpPr>
          <p:cNvPr id="6" name="Tittel 1"/>
          <p:cNvSpPr>
            <a:spLocks noGrp="1"/>
          </p:cNvSpPr>
          <p:nvPr>
            <p:ph type="title"/>
          </p:nvPr>
        </p:nvSpPr>
        <p:spPr>
          <a:xfrm>
            <a:off x="2365963" y="3681198"/>
            <a:ext cx="6120080" cy="1419611"/>
          </a:xfrm>
          <a:prstGeom prst="rect">
            <a:avLst/>
          </a:prstGeom>
        </p:spPr>
        <p:txBody>
          <a:bodyPr/>
          <a:lstStyle>
            <a:lvl1pPr>
              <a:defRPr>
                <a:solidFill>
                  <a:schemeClr val="bg1"/>
                </a:solidFill>
              </a:defRPr>
            </a:lvl1pPr>
          </a:lstStyle>
          <a:p>
            <a:r>
              <a:rPr lang="nb-NO"/>
              <a:t>Klikk for å redigere tittelstil</a:t>
            </a:r>
            <a:endParaRPr lang="nb-NO" dirty="0"/>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5963" y="600106"/>
            <a:ext cx="439149" cy="440948"/>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258411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7"/>
            <a:ext cx="16254413" cy="9141965"/>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7206" y="4295660"/>
            <a:ext cx="1489437" cy="1495540"/>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userDrawn="1"/>
        </p:nvSpPr>
        <p:spPr>
          <a:xfrm>
            <a:off x="8054543" y="7302500"/>
            <a:ext cx="3048000" cy="1166153"/>
          </a:xfrm>
          <a:prstGeom prst="rect">
            <a:avLst/>
          </a:prstGeom>
          <a:noFill/>
        </p:spPr>
        <p:txBody>
          <a:bodyPr wrap="square" rtlCol="0">
            <a:spAutoFit/>
          </a:bodyPr>
          <a:lstStyle/>
          <a:p>
            <a:pPr>
              <a:lnSpc>
                <a:spcPct val="150000"/>
              </a:lnSpc>
              <a:spcBef>
                <a:spcPts val="0"/>
              </a:spcBef>
            </a:pPr>
            <a:r>
              <a:rPr lang="nb-NO" sz="1200" b="1" dirty="0">
                <a:solidFill>
                  <a:schemeClr val="bg1"/>
                </a:solidFill>
              </a:rPr>
              <a:t>Digitaliseringsdirektoratet</a:t>
            </a:r>
          </a:p>
          <a:p>
            <a:pPr>
              <a:lnSpc>
                <a:spcPct val="150000"/>
              </a:lnSpc>
              <a:spcBef>
                <a:spcPts val="0"/>
              </a:spcBef>
            </a:pPr>
            <a:r>
              <a:rPr lang="nb-NO" sz="1200" b="0" dirty="0">
                <a:solidFill>
                  <a:schemeClr val="bg1"/>
                </a:solidFill>
              </a:rPr>
              <a:t>postmottak@digdir.no</a:t>
            </a:r>
          </a:p>
          <a:p>
            <a:pPr>
              <a:lnSpc>
                <a:spcPct val="150000"/>
              </a:lnSpc>
              <a:spcBef>
                <a:spcPts val="0"/>
              </a:spcBef>
            </a:pPr>
            <a:r>
              <a:rPr lang="nb-NO" sz="1200" b="0" dirty="0">
                <a:solidFill>
                  <a:schemeClr val="bg1"/>
                </a:solidFill>
              </a:rPr>
              <a:t>22 45 10 00</a:t>
            </a:r>
          </a:p>
          <a:p>
            <a:pPr>
              <a:lnSpc>
                <a:spcPct val="150000"/>
              </a:lnSpc>
              <a:spcBef>
                <a:spcPts val="0"/>
              </a:spcBef>
            </a:pPr>
            <a:r>
              <a:rPr lang="nb-NO" sz="1200" b="0" dirty="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userDrawn="1"/>
        </p:nvSpPr>
        <p:spPr>
          <a:xfrm>
            <a:off x="11102543" y="7302500"/>
            <a:ext cx="3048000" cy="1166153"/>
          </a:xfrm>
          <a:prstGeom prst="rect">
            <a:avLst/>
          </a:prstGeom>
          <a:noFill/>
        </p:spPr>
        <p:txBody>
          <a:bodyPr wrap="square" rtlCol="0">
            <a:spAutoFit/>
          </a:bodyPr>
          <a:lstStyle/>
          <a:p>
            <a:pPr>
              <a:lnSpc>
                <a:spcPct val="150000"/>
              </a:lnSpc>
              <a:spcBef>
                <a:spcPts val="0"/>
              </a:spcBef>
            </a:pPr>
            <a:r>
              <a:rPr lang="nb-NO" sz="1200" b="1" dirty="0">
                <a:solidFill>
                  <a:schemeClr val="bg1"/>
                </a:solidFill>
              </a:rPr>
              <a:t>Besøksadresser:</a:t>
            </a:r>
          </a:p>
          <a:p>
            <a:pPr>
              <a:lnSpc>
                <a:spcPct val="150000"/>
              </a:lnSpc>
              <a:spcBef>
                <a:spcPts val="0"/>
              </a:spcBef>
            </a:pPr>
            <a:r>
              <a:rPr lang="nb-NO" sz="1200" b="1" dirty="0">
                <a:solidFill>
                  <a:schemeClr val="bg1"/>
                </a:solidFill>
              </a:rPr>
              <a:t>Industriveien 1, 8900 Brønnøysund</a:t>
            </a:r>
          </a:p>
          <a:p>
            <a:pPr>
              <a:lnSpc>
                <a:spcPct val="150000"/>
              </a:lnSpc>
              <a:spcBef>
                <a:spcPts val="0"/>
              </a:spcBef>
            </a:pPr>
            <a:r>
              <a:rPr lang="nb-NO" sz="1200" b="1" dirty="0">
                <a:solidFill>
                  <a:schemeClr val="bg1"/>
                </a:solidFill>
              </a:rPr>
              <a:t>Skrivarevegen 2, 6863 Leikanger</a:t>
            </a:r>
          </a:p>
          <a:p>
            <a:pPr>
              <a:lnSpc>
                <a:spcPct val="150000"/>
              </a:lnSpc>
              <a:spcBef>
                <a:spcPts val="0"/>
              </a:spcBef>
            </a:pPr>
            <a:r>
              <a:rPr lang="nb-NO" sz="1200" b="1" dirty="0">
                <a:solidFill>
                  <a:schemeClr val="bg1"/>
                </a:solidFill>
              </a:rPr>
              <a:t>Grev Wedels Plass 9, 0151 Oslo</a:t>
            </a:r>
            <a:endParaRPr lang="nb-NO" sz="1200" b="0" dirty="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userDrawn="1"/>
        </p:nvSpPr>
        <p:spPr>
          <a:xfrm>
            <a:off x="3393643" y="7302500"/>
            <a:ext cx="3048000" cy="335156"/>
          </a:xfrm>
          <a:prstGeom prst="rect">
            <a:avLst/>
          </a:prstGeom>
          <a:noFill/>
        </p:spPr>
        <p:txBody>
          <a:bodyPr wrap="square" rtlCol="0">
            <a:spAutoFit/>
          </a:bodyPr>
          <a:lstStyle/>
          <a:p>
            <a:pPr>
              <a:lnSpc>
                <a:spcPct val="150000"/>
              </a:lnSpc>
              <a:spcBef>
                <a:spcPts val="0"/>
              </a:spcBef>
            </a:pPr>
            <a:r>
              <a:rPr lang="nb-NO" sz="1200" b="1" dirty="0">
                <a:solidFill>
                  <a:srgbClr val="1E2B3C"/>
                </a:solidFill>
              </a:rPr>
              <a:t>digdir.no</a:t>
            </a:r>
            <a:endParaRPr lang="nb-NO" sz="1200" b="0" dirty="0">
              <a:solidFill>
                <a:srgbClr val="1E2B3C"/>
              </a:solidFill>
            </a:endParaRPr>
          </a:p>
        </p:txBody>
      </p:sp>
    </p:spTree>
    <p:extLst>
      <p:ext uri="{BB962C8B-B14F-4D97-AF65-F5344CB8AC3E}">
        <p14:creationId xmlns:p14="http://schemas.microsoft.com/office/powerpoint/2010/main" val="10126320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1">
    <p:bg>
      <p:bgPr>
        <a:solidFill>
          <a:schemeClr val="lt1"/>
        </a:solidFill>
        <a:effectLst/>
      </p:bgPr>
    </p:bg>
    <p:spTree>
      <p:nvGrpSpPr>
        <p:cNvPr id="1" name=""/>
        <p:cNvGrpSpPr/>
        <p:nvPr/>
      </p:nvGrpSpPr>
      <p:grpSpPr>
        <a:xfrm>
          <a:off x="0" y="0"/>
          <a:ext cx="0" cy="0"/>
          <a:chOff x="0" y="0"/>
          <a:chExt cx="0" cy="0"/>
        </a:xfrm>
      </p:grpSpPr>
      <p:pic>
        <p:nvPicPr>
          <p:cNvPr id="6" name="Digdir_Transition_01">
            <a:hlinkClick r:id="" action="ppaction://media"/>
            <a:extLst>
              <a:ext uri="{FF2B5EF4-FFF2-40B4-BE49-F238E27FC236}">
                <a16:creationId xmlns:a16="http://schemas.microsoft.com/office/drawing/2014/main" id="{9D8054C2-404C-4902-A00B-CDC21692948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4413" cy="9143107"/>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424036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2">
    <p:bg>
      <p:bgPr>
        <a:solidFill>
          <a:schemeClr val="lt1"/>
        </a:solidFill>
        <a:effectLst/>
      </p:bgPr>
    </p:bg>
    <p:spTree>
      <p:nvGrpSpPr>
        <p:cNvPr id="1" name=""/>
        <p:cNvGrpSpPr/>
        <p:nvPr/>
      </p:nvGrpSpPr>
      <p:grpSpPr>
        <a:xfrm>
          <a:off x="0" y="0"/>
          <a:ext cx="0" cy="0"/>
          <a:chOff x="0" y="0"/>
          <a:chExt cx="0" cy="0"/>
        </a:xfrm>
      </p:grpSpPr>
      <p:pic>
        <p:nvPicPr>
          <p:cNvPr id="5" name="Digdir_Transition_02">
            <a:hlinkClick r:id="" action="ppaction://media"/>
            <a:extLst>
              <a:ext uri="{FF2B5EF4-FFF2-40B4-BE49-F238E27FC236}">
                <a16:creationId xmlns:a16="http://schemas.microsoft.com/office/drawing/2014/main" id="{BAEB2C08-6275-4E05-A719-5423DA108A6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15629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3">
    <p:bg>
      <p:bgPr>
        <a:solidFill>
          <a:schemeClr val="lt1"/>
        </a:solidFill>
        <a:effectLst/>
      </p:bgPr>
    </p:bg>
    <p:spTree>
      <p:nvGrpSpPr>
        <p:cNvPr id="1" name=""/>
        <p:cNvGrpSpPr/>
        <p:nvPr/>
      </p:nvGrpSpPr>
      <p:grpSpPr>
        <a:xfrm>
          <a:off x="0" y="0"/>
          <a:ext cx="0" cy="0"/>
          <a:chOff x="0" y="0"/>
          <a:chExt cx="0" cy="0"/>
        </a:xfrm>
      </p:grpSpPr>
      <p:pic>
        <p:nvPicPr>
          <p:cNvPr id="6" name="Digdir_Transition_03">
            <a:hlinkClick r:id="" action="ppaction://media"/>
            <a:extLst>
              <a:ext uri="{FF2B5EF4-FFF2-40B4-BE49-F238E27FC236}">
                <a16:creationId xmlns:a16="http://schemas.microsoft.com/office/drawing/2014/main" id="{16636BD1-6D01-43C8-9703-319789A8E9C2}"/>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581946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4">
    <p:bg>
      <p:bgPr>
        <a:solidFill>
          <a:schemeClr val="lt1"/>
        </a:solidFill>
        <a:effectLst/>
      </p:bgPr>
    </p:bg>
    <p:spTree>
      <p:nvGrpSpPr>
        <p:cNvPr id="1" name=""/>
        <p:cNvGrpSpPr/>
        <p:nvPr/>
      </p:nvGrpSpPr>
      <p:grpSpPr>
        <a:xfrm>
          <a:off x="0" y="0"/>
          <a:ext cx="0" cy="0"/>
          <a:chOff x="0" y="0"/>
          <a:chExt cx="0" cy="0"/>
        </a:xfrm>
      </p:grpSpPr>
      <p:pic>
        <p:nvPicPr>
          <p:cNvPr id="5" name="Digdir_Transition_04">
            <a:hlinkClick r:id="" action="ppaction://media"/>
            <a:extLst>
              <a:ext uri="{FF2B5EF4-FFF2-40B4-BE49-F238E27FC236}">
                <a16:creationId xmlns:a16="http://schemas.microsoft.com/office/drawing/2014/main" id="{01948658-E107-4673-853B-7E4EC79DD008}"/>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361874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5">
    <p:bg>
      <p:bgPr>
        <a:solidFill>
          <a:schemeClr val="lt1"/>
        </a:solidFill>
        <a:effectLst/>
      </p:bgPr>
    </p:bg>
    <p:spTree>
      <p:nvGrpSpPr>
        <p:cNvPr id="1" name=""/>
        <p:cNvGrpSpPr/>
        <p:nvPr/>
      </p:nvGrpSpPr>
      <p:grpSpPr>
        <a:xfrm>
          <a:off x="0" y="0"/>
          <a:ext cx="0" cy="0"/>
          <a:chOff x="0" y="0"/>
          <a:chExt cx="0" cy="0"/>
        </a:xfrm>
      </p:grpSpPr>
      <p:pic>
        <p:nvPicPr>
          <p:cNvPr id="6" name="Digdir_Transition_05">
            <a:hlinkClick r:id="" action="ppaction://media"/>
            <a:extLst>
              <a:ext uri="{FF2B5EF4-FFF2-40B4-BE49-F238E27FC236}">
                <a16:creationId xmlns:a16="http://schemas.microsoft.com/office/drawing/2014/main" id="{9CAB091A-4D4F-4D56-AD2B-62225BB722F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145509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6">
    <p:bg>
      <p:bgPr>
        <a:solidFill>
          <a:schemeClr val="lt1"/>
        </a:solidFill>
        <a:effectLst/>
      </p:bgPr>
    </p:bg>
    <p:spTree>
      <p:nvGrpSpPr>
        <p:cNvPr id="1" name=""/>
        <p:cNvGrpSpPr/>
        <p:nvPr/>
      </p:nvGrpSpPr>
      <p:grpSpPr>
        <a:xfrm>
          <a:off x="0" y="0"/>
          <a:ext cx="0" cy="0"/>
          <a:chOff x="0" y="0"/>
          <a:chExt cx="0" cy="0"/>
        </a:xfrm>
      </p:grpSpPr>
      <p:pic>
        <p:nvPicPr>
          <p:cNvPr id="5" name="Digdir_Transition_06">
            <a:hlinkClick r:id="" action="ppaction://media"/>
            <a:extLst>
              <a:ext uri="{FF2B5EF4-FFF2-40B4-BE49-F238E27FC236}">
                <a16:creationId xmlns:a16="http://schemas.microsoft.com/office/drawing/2014/main" id="{BA551B63-9795-46AD-AD4F-E5D9D654D57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162280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0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7">
    <p:bg>
      <p:bgPr>
        <a:solidFill>
          <a:schemeClr val="lt1"/>
        </a:solidFill>
        <a:effectLst/>
      </p:bgPr>
    </p:bg>
    <p:spTree>
      <p:nvGrpSpPr>
        <p:cNvPr id="1" name=""/>
        <p:cNvGrpSpPr/>
        <p:nvPr/>
      </p:nvGrpSpPr>
      <p:grpSpPr>
        <a:xfrm>
          <a:off x="0" y="0"/>
          <a:ext cx="0" cy="0"/>
          <a:chOff x="0" y="0"/>
          <a:chExt cx="0" cy="0"/>
        </a:xfrm>
      </p:grpSpPr>
      <p:pic>
        <p:nvPicPr>
          <p:cNvPr id="6" name="Digdir_Transition_07">
            <a:hlinkClick r:id="" action="ppaction://media"/>
            <a:extLst>
              <a:ext uri="{FF2B5EF4-FFF2-40B4-BE49-F238E27FC236}">
                <a16:creationId xmlns:a16="http://schemas.microsoft.com/office/drawing/2014/main" id="{02FF6D17-3B7F-41FF-A026-44065259C7C4}"/>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580997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8">
    <p:bg>
      <p:bgPr>
        <a:solidFill>
          <a:schemeClr val="lt1"/>
        </a:solidFill>
        <a:effectLst/>
      </p:bgPr>
    </p:bg>
    <p:spTree>
      <p:nvGrpSpPr>
        <p:cNvPr id="1" name=""/>
        <p:cNvGrpSpPr/>
        <p:nvPr/>
      </p:nvGrpSpPr>
      <p:grpSpPr>
        <a:xfrm>
          <a:off x="0" y="0"/>
          <a:ext cx="0" cy="0"/>
          <a:chOff x="0" y="0"/>
          <a:chExt cx="0" cy="0"/>
        </a:xfrm>
      </p:grpSpPr>
      <p:pic>
        <p:nvPicPr>
          <p:cNvPr id="5" name="Digdir_Transition_08">
            <a:hlinkClick r:id="" action="ppaction://media"/>
            <a:extLst>
              <a:ext uri="{FF2B5EF4-FFF2-40B4-BE49-F238E27FC236}">
                <a16:creationId xmlns:a16="http://schemas.microsoft.com/office/drawing/2014/main" id="{B7C49D2E-8481-48C5-982E-FBA05A32864D}"/>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9" name="TextBox 6">
            <a:extLst>
              <a:ext uri="{FF2B5EF4-FFF2-40B4-BE49-F238E27FC236}">
                <a16:creationId xmlns:a16="http://schemas.microsoft.com/office/drawing/2014/main" id="{81B9EAEB-567D-46AB-BDCF-F0F067B4F97C}"/>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480688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endParaRPr lang="nb-NO" dirty="0"/>
          </a:p>
        </p:txBody>
      </p:sp>
      <p:pic>
        <p:nvPicPr>
          <p:cNvPr id="17" name="Bilde 16">
            <a:extLst>
              <a:ext uri="{FF2B5EF4-FFF2-40B4-BE49-F238E27FC236}">
                <a16:creationId xmlns:a16="http://schemas.microsoft.com/office/drawing/2014/main" id="{511E4814-F717-4C61-A710-7E70E4ACD4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21" name="TextBox 6">
            <a:extLst>
              <a:ext uri="{FF2B5EF4-FFF2-40B4-BE49-F238E27FC236}">
                <a16:creationId xmlns:a16="http://schemas.microsoft.com/office/drawing/2014/main" id="{1F4A38C3-D8E7-404C-9494-8A3CD442BE93}"/>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3488484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9">
    <p:bg>
      <p:bgPr>
        <a:solidFill>
          <a:schemeClr val="lt1"/>
        </a:solidFill>
        <a:effectLst/>
      </p:bgPr>
    </p:bg>
    <p:spTree>
      <p:nvGrpSpPr>
        <p:cNvPr id="1" name=""/>
        <p:cNvGrpSpPr/>
        <p:nvPr/>
      </p:nvGrpSpPr>
      <p:grpSpPr>
        <a:xfrm>
          <a:off x="0" y="0"/>
          <a:ext cx="0" cy="0"/>
          <a:chOff x="0" y="0"/>
          <a:chExt cx="0" cy="0"/>
        </a:xfrm>
      </p:grpSpPr>
      <p:pic>
        <p:nvPicPr>
          <p:cNvPr id="6" name="Digdir_Transition_09">
            <a:hlinkClick r:id="" action="ppaction://media"/>
            <a:extLst>
              <a:ext uri="{FF2B5EF4-FFF2-40B4-BE49-F238E27FC236}">
                <a16:creationId xmlns:a16="http://schemas.microsoft.com/office/drawing/2014/main" id="{8E5F1F34-6F1E-47AE-832E-FE861F723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1" y="-1"/>
            <a:ext cx="16254413" cy="9143107"/>
          </a:xfrm>
          <a:prstGeom prst="rect">
            <a:avLst/>
          </a:prstGeom>
        </p:spPr>
      </p:pic>
      <p:sp>
        <p:nvSpPr>
          <p:cNvPr id="9" name="TextBox 6">
            <a:extLst>
              <a:ext uri="{FF2B5EF4-FFF2-40B4-BE49-F238E27FC236}">
                <a16:creationId xmlns:a16="http://schemas.microsoft.com/office/drawing/2014/main" id="{0442EF8D-8DD1-4D21-8B66-6BDC9E811030}"/>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4052900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1">
    <p:bg>
      <p:bgPr>
        <a:solidFill>
          <a:schemeClr val="lt1"/>
        </a:solidFill>
        <a:effectLst/>
      </p:bgPr>
    </p:bg>
    <p:spTree>
      <p:nvGrpSpPr>
        <p:cNvPr id="1" name=""/>
        <p:cNvGrpSpPr/>
        <p:nvPr/>
      </p:nvGrpSpPr>
      <p:grpSpPr>
        <a:xfrm>
          <a:off x="0" y="0"/>
          <a:ext cx="0" cy="0"/>
          <a:chOff x="0" y="0"/>
          <a:chExt cx="0" cy="0"/>
        </a:xfrm>
      </p:grpSpPr>
      <p:pic>
        <p:nvPicPr>
          <p:cNvPr id="6" name="Digdir_Transition_01">
            <a:hlinkClick r:id="" action="ppaction://media"/>
            <a:extLst>
              <a:ext uri="{FF2B5EF4-FFF2-40B4-BE49-F238E27FC236}">
                <a16:creationId xmlns:a16="http://schemas.microsoft.com/office/drawing/2014/main" id="{9D8054C2-404C-4902-A00B-CDC21692948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4413" cy="9143107"/>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049241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0" mute="1">
                <p:cTn id="12" fill="hold" display="0">
                  <p:stCondLst>
                    <p:cond delay="indefinite"/>
                  </p:stCondLst>
                </p:cTn>
                <p:tgtEl>
                  <p:spTgt spid="6"/>
                </p:tgtEl>
              </p:cMediaNode>
            </p:video>
          </p:childTnLst>
        </p:cTn>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2">
    <p:bg>
      <p:bgPr>
        <a:solidFill>
          <a:schemeClr val="lt1"/>
        </a:solidFill>
        <a:effectLst/>
      </p:bgPr>
    </p:bg>
    <p:spTree>
      <p:nvGrpSpPr>
        <p:cNvPr id="1" name=""/>
        <p:cNvGrpSpPr/>
        <p:nvPr/>
      </p:nvGrpSpPr>
      <p:grpSpPr>
        <a:xfrm>
          <a:off x="0" y="0"/>
          <a:ext cx="0" cy="0"/>
          <a:chOff x="0" y="0"/>
          <a:chExt cx="0" cy="0"/>
        </a:xfrm>
      </p:grpSpPr>
      <p:pic>
        <p:nvPicPr>
          <p:cNvPr id="5" name="Digdir_Transition_02">
            <a:hlinkClick r:id="" action="ppaction://media"/>
            <a:extLst>
              <a:ext uri="{FF2B5EF4-FFF2-40B4-BE49-F238E27FC236}">
                <a16:creationId xmlns:a16="http://schemas.microsoft.com/office/drawing/2014/main" id="{BAEB2C08-6275-4E05-A719-5423DA108A6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21898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3">
    <p:bg>
      <p:bgPr>
        <a:solidFill>
          <a:schemeClr val="lt1"/>
        </a:solidFill>
        <a:effectLst/>
      </p:bgPr>
    </p:bg>
    <p:spTree>
      <p:nvGrpSpPr>
        <p:cNvPr id="1" name=""/>
        <p:cNvGrpSpPr/>
        <p:nvPr/>
      </p:nvGrpSpPr>
      <p:grpSpPr>
        <a:xfrm>
          <a:off x="0" y="0"/>
          <a:ext cx="0" cy="0"/>
          <a:chOff x="0" y="0"/>
          <a:chExt cx="0" cy="0"/>
        </a:xfrm>
      </p:grpSpPr>
      <p:pic>
        <p:nvPicPr>
          <p:cNvPr id="6" name="Digdir_Transition_03">
            <a:hlinkClick r:id="" action="ppaction://media"/>
            <a:extLst>
              <a:ext uri="{FF2B5EF4-FFF2-40B4-BE49-F238E27FC236}">
                <a16:creationId xmlns:a16="http://schemas.microsoft.com/office/drawing/2014/main" id="{16636BD1-6D01-43C8-9703-319789A8E9C2}"/>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379313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4">
    <p:bg>
      <p:bgPr>
        <a:solidFill>
          <a:schemeClr val="lt1"/>
        </a:solidFill>
        <a:effectLst/>
      </p:bgPr>
    </p:bg>
    <p:spTree>
      <p:nvGrpSpPr>
        <p:cNvPr id="1" name=""/>
        <p:cNvGrpSpPr/>
        <p:nvPr/>
      </p:nvGrpSpPr>
      <p:grpSpPr>
        <a:xfrm>
          <a:off x="0" y="0"/>
          <a:ext cx="0" cy="0"/>
          <a:chOff x="0" y="0"/>
          <a:chExt cx="0" cy="0"/>
        </a:xfrm>
      </p:grpSpPr>
      <p:pic>
        <p:nvPicPr>
          <p:cNvPr id="5" name="Digdir_Transition_04">
            <a:hlinkClick r:id="" action="ppaction://media"/>
            <a:extLst>
              <a:ext uri="{FF2B5EF4-FFF2-40B4-BE49-F238E27FC236}">
                <a16:creationId xmlns:a16="http://schemas.microsoft.com/office/drawing/2014/main" id="{01948658-E107-4673-853B-7E4EC79DD008}"/>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827990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5">
    <p:bg>
      <p:bgPr>
        <a:solidFill>
          <a:schemeClr val="lt1"/>
        </a:solidFill>
        <a:effectLst/>
      </p:bgPr>
    </p:bg>
    <p:spTree>
      <p:nvGrpSpPr>
        <p:cNvPr id="1" name=""/>
        <p:cNvGrpSpPr/>
        <p:nvPr/>
      </p:nvGrpSpPr>
      <p:grpSpPr>
        <a:xfrm>
          <a:off x="0" y="0"/>
          <a:ext cx="0" cy="0"/>
          <a:chOff x="0" y="0"/>
          <a:chExt cx="0" cy="0"/>
        </a:xfrm>
      </p:grpSpPr>
      <p:pic>
        <p:nvPicPr>
          <p:cNvPr id="6" name="Digdir_Transition_05">
            <a:hlinkClick r:id="" action="ppaction://media"/>
            <a:extLst>
              <a:ext uri="{FF2B5EF4-FFF2-40B4-BE49-F238E27FC236}">
                <a16:creationId xmlns:a16="http://schemas.microsoft.com/office/drawing/2014/main" id="{9CAB091A-4D4F-4D56-AD2B-62225BB722F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054067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6">
    <p:bg>
      <p:bgPr>
        <a:solidFill>
          <a:schemeClr val="lt1"/>
        </a:solidFill>
        <a:effectLst/>
      </p:bgPr>
    </p:bg>
    <p:spTree>
      <p:nvGrpSpPr>
        <p:cNvPr id="1" name=""/>
        <p:cNvGrpSpPr/>
        <p:nvPr/>
      </p:nvGrpSpPr>
      <p:grpSpPr>
        <a:xfrm>
          <a:off x="0" y="0"/>
          <a:ext cx="0" cy="0"/>
          <a:chOff x="0" y="0"/>
          <a:chExt cx="0" cy="0"/>
        </a:xfrm>
      </p:grpSpPr>
      <p:pic>
        <p:nvPicPr>
          <p:cNvPr id="5" name="Digdir_Transition_06">
            <a:hlinkClick r:id="" action="ppaction://media"/>
            <a:extLst>
              <a:ext uri="{FF2B5EF4-FFF2-40B4-BE49-F238E27FC236}">
                <a16:creationId xmlns:a16="http://schemas.microsoft.com/office/drawing/2014/main" id="{BA551B63-9795-46AD-AD4F-E5D9D654D57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254616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0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7">
    <p:bg>
      <p:bgPr>
        <a:solidFill>
          <a:schemeClr val="lt1"/>
        </a:solidFill>
        <a:effectLst/>
      </p:bgPr>
    </p:bg>
    <p:spTree>
      <p:nvGrpSpPr>
        <p:cNvPr id="1" name=""/>
        <p:cNvGrpSpPr/>
        <p:nvPr/>
      </p:nvGrpSpPr>
      <p:grpSpPr>
        <a:xfrm>
          <a:off x="0" y="0"/>
          <a:ext cx="0" cy="0"/>
          <a:chOff x="0" y="0"/>
          <a:chExt cx="0" cy="0"/>
        </a:xfrm>
      </p:grpSpPr>
      <p:pic>
        <p:nvPicPr>
          <p:cNvPr id="6" name="Digdir_Transition_07">
            <a:hlinkClick r:id="" action="ppaction://media"/>
            <a:extLst>
              <a:ext uri="{FF2B5EF4-FFF2-40B4-BE49-F238E27FC236}">
                <a16:creationId xmlns:a16="http://schemas.microsoft.com/office/drawing/2014/main" id="{02FF6D17-3B7F-41FF-A026-44065259C7C4}"/>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700529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8">
    <p:bg>
      <p:bgPr>
        <a:solidFill>
          <a:schemeClr val="lt1"/>
        </a:solidFill>
        <a:effectLst/>
      </p:bgPr>
    </p:bg>
    <p:spTree>
      <p:nvGrpSpPr>
        <p:cNvPr id="1" name=""/>
        <p:cNvGrpSpPr/>
        <p:nvPr/>
      </p:nvGrpSpPr>
      <p:grpSpPr>
        <a:xfrm>
          <a:off x="0" y="0"/>
          <a:ext cx="0" cy="0"/>
          <a:chOff x="0" y="0"/>
          <a:chExt cx="0" cy="0"/>
        </a:xfrm>
      </p:grpSpPr>
      <p:pic>
        <p:nvPicPr>
          <p:cNvPr id="5" name="Digdir_Transition_08">
            <a:hlinkClick r:id="" action="ppaction://media"/>
            <a:extLst>
              <a:ext uri="{FF2B5EF4-FFF2-40B4-BE49-F238E27FC236}">
                <a16:creationId xmlns:a16="http://schemas.microsoft.com/office/drawing/2014/main" id="{B7C49D2E-8481-48C5-982E-FBA05A32864D}"/>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9" name="TextBox 6">
            <a:extLst>
              <a:ext uri="{FF2B5EF4-FFF2-40B4-BE49-F238E27FC236}">
                <a16:creationId xmlns:a16="http://schemas.microsoft.com/office/drawing/2014/main" id="{81B9EAEB-567D-46AB-BDCF-F0F067B4F97C}"/>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2434238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9">
    <p:bg>
      <p:bgPr>
        <a:solidFill>
          <a:schemeClr val="lt1"/>
        </a:solidFill>
        <a:effectLst/>
      </p:bgPr>
    </p:bg>
    <p:spTree>
      <p:nvGrpSpPr>
        <p:cNvPr id="1" name=""/>
        <p:cNvGrpSpPr/>
        <p:nvPr/>
      </p:nvGrpSpPr>
      <p:grpSpPr>
        <a:xfrm>
          <a:off x="0" y="0"/>
          <a:ext cx="0" cy="0"/>
          <a:chOff x="0" y="0"/>
          <a:chExt cx="0" cy="0"/>
        </a:xfrm>
      </p:grpSpPr>
      <p:pic>
        <p:nvPicPr>
          <p:cNvPr id="6" name="Digdir_Transition_09">
            <a:hlinkClick r:id="" action="ppaction://media"/>
            <a:extLst>
              <a:ext uri="{FF2B5EF4-FFF2-40B4-BE49-F238E27FC236}">
                <a16:creationId xmlns:a16="http://schemas.microsoft.com/office/drawing/2014/main" id="{8E5F1F34-6F1E-47AE-832E-FE861F723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1" y="893"/>
            <a:ext cx="16254413" cy="9143107"/>
          </a:xfrm>
          <a:prstGeom prst="rect">
            <a:avLst/>
          </a:prstGeom>
        </p:spPr>
      </p:pic>
      <p:sp>
        <p:nvSpPr>
          <p:cNvPr id="9" name="TextBox 6">
            <a:extLst>
              <a:ext uri="{FF2B5EF4-FFF2-40B4-BE49-F238E27FC236}">
                <a16:creationId xmlns:a16="http://schemas.microsoft.com/office/drawing/2014/main" id="{0442EF8D-8DD1-4D21-8B66-6BDC9E811030}"/>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330191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tx2"/>
                </a:solidFill>
              </a:defRPr>
            </a:lvl1pPr>
          </a:lstStyle>
          <a:p>
            <a:r>
              <a:rPr lang="nb-NO"/>
              <a:t>Klikk for å redigere tittelstil</a:t>
            </a:r>
            <a:endParaRPr lang="nb-NO" dirty="0"/>
          </a:p>
        </p:txBody>
      </p:sp>
      <p:pic>
        <p:nvPicPr>
          <p:cNvPr id="8" name="Bilde 7">
            <a:extLst>
              <a:ext uri="{FF2B5EF4-FFF2-40B4-BE49-F238E27FC236}">
                <a16:creationId xmlns:a16="http://schemas.microsoft.com/office/drawing/2014/main" id="{E5FE4CE4-134D-4788-A6F4-BC91B10574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13" name="TextBox 6">
            <a:extLst>
              <a:ext uri="{FF2B5EF4-FFF2-40B4-BE49-F238E27FC236}">
                <a16:creationId xmlns:a16="http://schemas.microsoft.com/office/drawing/2014/main" id="{57D81D62-A055-4B15-80BD-929468DE16B6}"/>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552377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F3847AB-5C1C-4E48-AA98-9342D569164B}"/>
              </a:ext>
            </a:extLst>
          </p:cNvPr>
          <p:cNvSpPr>
            <a:spLocks noGrp="1"/>
          </p:cNvSpPr>
          <p:nvPr>
            <p:ph type="ctrTitle"/>
          </p:nvPr>
        </p:nvSpPr>
        <p:spPr>
          <a:xfrm>
            <a:off x="2031802" y="1496484"/>
            <a:ext cx="12190810" cy="3183467"/>
          </a:xfrm>
        </p:spPr>
        <p:txBody>
          <a:bodyPr anchor="b"/>
          <a:lstStyle>
            <a:lvl1pPr algn="ctr">
              <a:defRPr sz="7999"/>
            </a:lvl1pPr>
          </a:lstStyle>
          <a:p>
            <a:r>
              <a:rPr lang="nb-NO"/>
              <a:t>Klikk for å redigere tittelstil</a:t>
            </a:r>
          </a:p>
        </p:txBody>
      </p:sp>
      <p:sp>
        <p:nvSpPr>
          <p:cNvPr id="3" name="Undertittel 2">
            <a:extLst>
              <a:ext uri="{FF2B5EF4-FFF2-40B4-BE49-F238E27FC236}">
                <a16:creationId xmlns:a16="http://schemas.microsoft.com/office/drawing/2014/main" id="{38CA5FF0-698F-49F7-9E8B-13C79F0AA4A3}"/>
              </a:ext>
            </a:extLst>
          </p:cNvPr>
          <p:cNvSpPr>
            <a:spLocks noGrp="1"/>
          </p:cNvSpPr>
          <p:nvPr>
            <p:ph type="subTitle" idx="1"/>
          </p:nvPr>
        </p:nvSpPr>
        <p:spPr>
          <a:xfrm>
            <a:off x="2031802" y="4802717"/>
            <a:ext cx="12190810" cy="2207683"/>
          </a:xfrm>
        </p:spPr>
        <p:txBody>
          <a:bodyPr/>
          <a:lstStyle>
            <a:lvl1pPr marL="0" indent="0" algn="ctr">
              <a:buNone/>
              <a:defRPr sz="3200"/>
            </a:lvl1pPr>
            <a:lvl2pPr marL="609539" indent="0" algn="ctr">
              <a:buNone/>
              <a:defRPr sz="2666"/>
            </a:lvl2pPr>
            <a:lvl3pPr marL="1219078" indent="0" algn="ctr">
              <a:buNone/>
              <a:defRPr sz="2400"/>
            </a:lvl3pPr>
            <a:lvl4pPr marL="1828617" indent="0" algn="ctr">
              <a:buNone/>
              <a:defRPr sz="2133"/>
            </a:lvl4pPr>
            <a:lvl5pPr marL="2438156" indent="0" algn="ctr">
              <a:buNone/>
              <a:defRPr sz="2133"/>
            </a:lvl5pPr>
            <a:lvl6pPr marL="3047695" indent="0" algn="ctr">
              <a:buNone/>
              <a:defRPr sz="2133"/>
            </a:lvl6pPr>
            <a:lvl7pPr marL="3657234" indent="0" algn="ctr">
              <a:buNone/>
              <a:defRPr sz="2133"/>
            </a:lvl7pPr>
            <a:lvl8pPr marL="4266773" indent="0" algn="ctr">
              <a:buNone/>
              <a:defRPr sz="2133"/>
            </a:lvl8pPr>
            <a:lvl9pPr marL="4876312" indent="0" algn="ctr">
              <a:buNone/>
              <a:defRPr sz="2133"/>
            </a:lvl9pPr>
          </a:lstStyle>
          <a:p>
            <a:r>
              <a:rPr lang="nb-NO"/>
              <a:t>Klikk for å redigere undertittelstil i malen</a:t>
            </a:r>
          </a:p>
        </p:txBody>
      </p:sp>
      <p:sp>
        <p:nvSpPr>
          <p:cNvPr id="4" name="Plassholder for dato 3">
            <a:extLst>
              <a:ext uri="{FF2B5EF4-FFF2-40B4-BE49-F238E27FC236}">
                <a16:creationId xmlns:a16="http://schemas.microsoft.com/office/drawing/2014/main" id="{1A2E5279-B2ED-4819-96C0-7CD34FA3FE8F}"/>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5" name="Plassholder for bunntekst 4">
            <a:extLst>
              <a:ext uri="{FF2B5EF4-FFF2-40B4-BE49-F238E27FC236}">
                <a16:creationId xmlns:a16="http://schemas.microsoft.com/office/drawing/2014/main" id="{F64254BB-E41F-4184-8420-27B36B8818A9}"/>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C2AE771-26C8-4843-9451-75A7C67256D4}"/>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29894278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F7BC5E-5023-4EF6-8008-758F75BC05B7}"/>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123E63B-759A-49CF-991E-85370C31830D}"/>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3C1DC10B-F3C2-41D2-9C55-E8B01D86EEF1}"/>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5" name="Plassholder for bunntekst 4">
            <a:extLst>
              <a:ext uri="{FF2B5EF4-FFF2-40B4-BE49-F238E27FC236}">
                <a16:creationId xmlns:a16="http://schemas.microsoft.com/office/drawing/2014/main" id="{AB2B1570-5E5F-4EA7-A358-0D548B414AA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0DCF94FD-69C5-4BF5-ACEB-1574C741611E}"/>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12890445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CBAFE4E-1020-4419-99C4-C12FE7F64FAB}"/>
              </a:ext>
            </a:extLst>
          </p:cNvPr>
          <p:cNvSpPr>
            <a:spLocks noGrp="1"/>
          </p:cNvSpPr>
          <p:nvPr>
            <p:ph type="title"/>
          </p:nvPr>
        </p:nvSpPr>
        <p:spPr>
          <a:xfrm>
            <a:off x="1109025" y="2279652"/>
            <a:ext cx="14019431" cy="3803649"/>
          </a:xfrm>
        </p:spPr>
        <p:txBody>
          <a:bodyPr anchor="b"/>
          <a:lstStyle>
            <a:lvl1pPr>
              <a:defRPr sz="7999"/>
            </a:lvl1pPr>
          </a:lstStyle>
          <a:p>
            <a:r>
              <a:rPr lang="nb-NO"/>
              <a:t>Klikk for å redigere tittelstil</a:t>
            </a:r>
          </a:p>
        </p:txBody>
      </p:sp>
      <p:sp>
        <p:nvSpPr>
          <p:cNvPr id="3" name="Plassholder for tekst 2">
            <a:extLst>
              <a:ext uri="{FF2B5EF4-FFF2-40B4-BE49-F238E27FC236}">
                <a16:creationId xmlns:a16="http://schemas.microsoft.com/office/drawing/2014/main" id="{0669206C-DC7E-47D6-9F12-F7E681F72519}"/>
              </a:ext>
            </a:extLst>
          </p:cNvPr>
          <p:cNvSpPr>
            <a:spLocks noGrp="1"/>
          </p:cNvSpPr>
          <p:nvPr>
            <p:ph type="body" idx="1"/>
          </p:nvPr>
        </p:nvSpPr>
        <p:spPr>
          <a:xfrm>
            <a:off x="1109025" y="6119285"/>
            <a:ext cx="14019431" cy="2000249"/>
          </a:xfrm>
        </p:spPr>
        <p:txBody>
          <a:bodyPr/>
          <a:lstStyle>
            <a:lvl1pPr marL="0" indent="0">
              <a:buNone/>
              <a:defRPr sz="3200">
                <a:solidFill>
                  <a:schemeClr val="tx1">
                    <a:tint val="75000"/>
                  </a:schemeClr>
                </a:solidFill>
              </a:defRPr>
            </a:lvl1pPr>
            <a:lvl2pPr marL="609539" indent="0">
              <a:buNone/>
              <a:defRPr sz="2666">
                <a:solidFill>
                  <a:schemeClr val="tx1">
                    <a:tint val="75000"/>
                  </a:schemeClr>
                </a:solidFill>
              </a:defRPr>
            </a:lvl2pPr>
            <a:lvl3pPr marL="1219078" indent="0">
              <a:buNone/>
              <a:defRPr sz="2400">
                <a:solidFill>
                  <a:schemeClr val="tx1">
                    <a:tint val="75000"/>
                  </a:schemeClr>
                </a:solidFill>
              </a:defRPr>
            </a:lvl3pPr>
            <a:lvl4pPr marL="1828617" indent="0">
              <a:buNone/>
              <a:defRPr sz="2133">
                <a:solidFill>
                  <a:schemeClr val="tx1">
                    <a:tint val="75000"/>
                  </a:schemeClr>
                </a:solidFill>
              </a:defRPr>
            </a:lvl4pPr>
            <a:lvl5pPr marL="2438156" indent="0">
              <a:buNone/>
              <a:defRPr sz="2133">
                <a:solidFill>
                  <a:schemeClr val="tx1">
                    <a:tint val="75000"/>
                  </a:schemeClr>
                </a:solidFill>
              </a:defRPr>
            </a:lvl5pPr>
            <a:lvl6pPr marL="3047695" indent="0">
              <a:buNone/>
              <a:defRPr sz="2133">
                <a:solidFill>
                  <a:schemeClr val="tx1">
                    <a:tint val="75000"/>
                  </a:schemeClr>
                </a:solidFill>
              </a:defRPr>
            </a:lvl6pPr>
            <a:lvl7pPr marL="3657234" indent="0">
              <a:buNone/>
              <a:defRPr sz="2133">
                <a:solidFill>
                  <a:schemeClr val="tx1">
                    <a:tint val="75000"/>
                  </a:schemeClr>
                </a:solidFill>
              </a:defRPr>
            </a:lvl7pPr>
            <a:lvl8pPr marL="4266773" indent="0">
              <a:buNone/>
              <a:defRPr sz="2133">
                <a:solidFill>
                  <a:schemeClr val="tx1">
                    <a:tint val="75000"/>
                  </a:schemeClr>
                </a:solidFill>
              </a:defRPr>
            </a:lvl8pPr>
            <a:lvl9pPr marL="4876312" indent="0">
              <a:buNone/>
              <a:defRPr sz="2133">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333B57A5-4516-4AF0-82DC-A9AA3547AE30}"/>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5" name="Plassholder for bunntekst 4">
            <a:extLst>
              <a:ext uri="{FF2B5EF4-FFF2-40B4-BE49-F238E27FC236}">
                <a16:creationId xmlns:a16="http://schemas.microsoft.com/office/drawing/2014/main" id="{34FABD6B-AA7E-4877-AD74-14D4BD2E638C}"/>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F426C9B-9569-4E00-99F0-4CDEECC1574A}"/>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31551176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A9C8B74-6CA6-4B58-B853-525C5A311704}"/>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2C66D713-A1F5-4F6D-AE78-47D2305B0DB3}"/>
              </a:ext>
            </a:extLst>
          </p:cNvPr>
          <p:cNvSpPr>
            <a:spLocks noGrp="1"/>
          </p:cNvSpPr>
          <p:nvPr>
            <p:ph sz="half" idx="1"/>
          </p:nvPr>
        </p:nvSpPr>
        <p:spPr>
          <a:xfrm>
            <a:off x="1117491" y="2434167"/>
            <a:ext cx="6908126" cy="5801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7FBC626D-0A58-41D1-A958-12FBDFA7E30B}"/>
              </a:ext>
            </a:extLst>
          </p:cNvPr>
          <p:cNvSpPr>
            <a:spLocks noGrp="1"/>
          </p:cNvSpPr>
          <p:nvPr>
            <p:ph sz="half" idx="2"/>
          </p:nvPr>
        </p:nvSpPr>
        <p:spPr>
          <a:xfrm>
            <a:off x="8228796" y="2434167"/>
            <a:ext cx="6908126" cy="5801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0373BAB3-4CC5-44D1-B6DF-B76D899D8E86}"/>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6" name="Plassholder for bunntekst 5">
            <a:extLst>
              <a:ext uri="{FF2B5EF4-FFF2-40B4-BE49-F238E27FC236}">
                <a16:creationId xmlns:a16="http://schemas.microsoft.com/office/drawing/2014/main" id="{4922923B-1318-4CC2-9593-59D30680C8A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11A4DC78-C8FB-43FB-85D1-8BFC9A88F8DE}"/>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42626663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608AD21-BA2B-4655-991D-50FA9370B6EE}"/>
              </a:ext>
            </a:extLst>
          </p:cNvPr>
          <p:cNvSpPr>
            <a:spLocks noGrp="1"/>
          </p:cNvSpPr>
          <p:nvPr>
            <p:ph type="title"/>
          </p:nvPr>
        </p:nvSpPr>
        <p:spPr>
          <a:xfrm>
            <a:off x="1119608" y="486834"/>
            <a:ext cx="14019431" cy="1767417"/>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6893F725-0E2E-4C5E-8A92-1A6332120BCA}"/>
              </a:ext>
            </a:extLst>
          </p:cNvPr>
          <p:cNvSpPr>
            <a:spLocks noGrp="1"/>
          </p:cNvSpPr>
          <p:nvPr>
            <p:ph type="body" idx="1"/>
          </p:nvPr>
        </p:nvSpPr>
        <p:spPr>
          <a:xfrm>
            <a:off x="1119609" y="2241551"/>
            <a:ext cx="6876378" cy="1098549"/>
          </a:xfrm>
        </p:spPr>
        <p:txBody>
          <a:bodyPr anchor="b"/>
          <a:lstStyle>
            <a:lvl1pPr marL="0" indent="0">
              <a:buNone/>
              <a:defRPr sz="3200" b="1"/>
            </a:lvl1pPr>
            <a:lvl2pPr marL="609539" indent="0">
              <a:buNone/>
              <a:defRPr sz="2666" b="1"/>
            </a:lvl2pPr>
            <a:lvl3pPr marL="1219078" indent="0">
              <a:buNone/>
              <a:defRPr sz="2400" b="1"/>
            </a:lvl3pPr>
            <a:lvl4pPr marL="1828617" indent="0">
              <a:buNone/>
              <a:defRPr sz="2133" b="1"/>
            </a:lvl4pPr>
            <a:lvl5pPr marL="2438156" indent="0">
              <a:buNone/>
              <a:defRPr sz="2133" b="1"/>
            </a:lvl5pPr>
            <a:lvl6pPr marL="3047695" indent="0">
              <a:buNone/>
              <a:defRPr sz="2133" b="1"/>
            </a:lvl6pPr>
            <a:lvl7pPr marL="3657234" indent="0">
              <a:buNone/>
              <a:defRPr sz="2133" b="1"/>
            </a:lvl7pPr>
            <a:lvl8pPr marL="4266773" indent="0">
              <a:buNone/>
              <a:defRPr sz="2133" b="1"/>
            </a:lvl8pPr>
            <a:lvl9pPr marL="4876312" indent="0">
              <a:buNone/>
              <a:defRPr sz="2133"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75F29BCA-5DD7-4952-ABFB-E80F1150366E}"/>
              </a:ext>
            </a:extLst>
          </p:cNvPr>
          <p:cNvSpPr>
            <a:spLocks noGrp="1"/>
          </p:cNvSpPr>
          <p:nvPr>
            <p:ph sz="half" idx="2"/>
          </p:nvPr>
        </p:nvSpPr>
        <p:spPr>
          <a:xfrm>
            <a:off x="1119609" y="3340100"/>
            <a:ext cx="6876378" cy="4912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AD1C766E-DC06-42A1-86B1-CC2CE6E1ECFD}"/>
              </a:ext>
            </a:extLst>
          </p:cNvPr>
          <p:cNvSpPr>
            <a:spLocks noGrp="1"/>
          </p:cNvSpPr>
          <p:nvPr>
            <p:ph type="body" sz="quarter" idx="3"/>
          </p:nvPr>
        </p:nvSpPr>
        <p:spPr>
          <a:xfrm>
            <a:off x="8228796" y="2241551"/>
            <a:ext cx="6910243" cy="1098549"/>
          </a:xfrm>
        </p:spPr>
        <p:txBody>
          <a:bodyPr anchor="b"/>
          <a:lstStyle>
            <a:lvl1pPr marL="0" indent="0">
              <a:buNone/>
              <a:defRPr sz="3200" b="1"/>
            </a:lvl1pPr>
            <a:lvl2pPr marL="609539" indent="0">
              <a:buNone/>
              <a:defRPr sz="2666" b="1"/>
            </a:lvl2pPr>
            <a:lvl3pPr marL="1219078" indent="0">
              <a:buNone/>
              <a:defRPr sz="2400" b="1"/>
            </a:lvl3pPr>
            <a:lvl4pPr marL="1828617" indent="0">
              <a:buNone/>
              <a:defRPr sz="2133" b="1"/>
            </a:lvl4pPr>
            <a:lvl5pPr marL="2438156" indent="0">
              <a:buNone/>
              <a:defRPr sz="2133" b="1"/>
            </a:lvl5pPr>
            <a:lvl6pPr marL="3047695" indent="0">
              <a:buNone/>
              <a:defRPr sz="2133" b="1"/>
            </a:lvl6pPr>
            <a:lvl7pPr marL="3657234" indent="0">
              <a:buNone/>
              <a:defRPr sz="2133" b="1"/>
            </a:lvl7pPr>
            <a:lvl8pPr marL="4266773" indent="0">
              <a:buNone/>
              <a:defRPr sz="2133" b="1"/>
            </a:lvl8pPr>
            <a:lvl9pPr marL="4876312" indent="0">
              <a:buNone/>
              <a:defRPr sz="2133"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7482E036-5D76-481F-8C1E-354CA634A77E}"/>
              </a:ext>
            </a:extLst>
          </p:cNvPr>
          <p:cNvSpPr>
            <a:spLocks noGrp="1"/>
          </p:cNvSpPr>
          <p:nvPr>
            <p:ph sz="quarter" idx="4"/>
          </p:nvPr>
        </p:nvSpPr>
        <p:spPr>
          <a:xfrm>
            <a:off x="8228796" y="3340100"/>
            <a:ext cx="6910243" cy="491278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77F142AD-98D3-4C84-94BD-1999D3784517}"/>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8" name="Plassholder for bunntekst 7">
            <a:extLst>
              <a:ext uri="{FF2B5EF4-FFF2-40B4-BE49-F238E27FC236}">
                <a16:creationId xmlns:a16="http://schemas.microsoft.com/office/drawing/2014/main" id="{84A1231A-9FBD-48E5-A009-4073EF42150E}"/>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8D645052-D080-43DF-AC2B-1C1067528E75}"/>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10685772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2C7724E-E788-4AB0-967E-26CC67D4D487}"/>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CEF0DF80-70BA-49AF-8AF6-5884F1507EE3}"/>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4" name="Plassholder for bunntekst 3">
            <a:extLst>
              <a:ext uri="{FF2B5EF4-FFF2-40B4-BE49-F238E27FC236}">
                <a16:creationId xmlns:a16="http://schemas.microsoft.com/office/drawing/2014/main" id="{F93A90FC-78C2-471E-A830-45ED63D546FA}"/>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19525C2-826C-452F-AA91-735E852744E6}"/>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30051733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4D5B7E86-4851-4F9D-BE7D-C9DAB1CD6699}"/>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3" name="Plassholder for bunntekst 2">
            <a:extLst>
              <a:ext uri="{FF2B5EF4-FFF2-40B4-BE49-F238E27FC236}">
                <a16:creationId xmlns:a16="http://schemas.microsoft.com/office/drawing/2014/main" id="{81B9A662-D10A-426D-A501-A1E2AE5D520B}"/>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413FFC50-5FFC-4FBA-9D97-86073ECA9032}"/>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3895979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9DBA692-AB54-4223-B433-A6285B38A732}"/>
              </a:ext>
            </a:extLst>
          </p:cNvPr>
          <p:cNvSpPr>
            <a:spLocks noGrp="1"/>
          </p:cNvSpPr>
          <p:nvPr>
            <p:ph type="title"/>
          </p:nvPr>
        </p:nvSpPr>
        <p:spPr>
          <a:xfrm>
            <a:off x="1119609" y="609600"/>
            <a:ext cx="5242471" cy="2133600"/>
          </a:xfrm>
        </p:spPr>
        <p:txBody>
          <a:bodyPr anchor="b"/>
          <a:lstStyle>
            <a:lvl1pPr>
              <a:defRPr sz="4266"/>
            </a:lvl1pPr>
          </a:lstStyle>
          <a:p>
            <a:r>
              <a:rPr lang="nb-NO"/>
              <a:t>Klikk for å redigere tittelstil</a:t>
            </a:r>
          </a:p>
        </p:txBody>
      </p:sp>
      <p:sp>
        <p:nvSpPr>
          <p:cNvPr id="3" name="Plassholder for innhold 2">
            <a:extLst>
              <a:ext uri="{FF2B5EF4-FFF2-40B4-BE49-F238E27FC236}">
                <a16:creationId xmlns:a16="http://schemas.microsoft.com/office/drawing/2014/main" id="{A8537A87-4663-48AE-9235-CD51EF7110C7}"/>
              </a:ext>
            </a:extLst>
          </p:cNvPr>
          <p:cNvSpPr>
            <a:spLocks noGrp="1"/>
          </p:cNvSpPr>
          <p:nvPr>
            <p:ph idx="1"/>
          </p:nvPr>
        </p:nvSpPr>
        <p:spPr>
          <a:xfrm>
            <a:off x="6910242" y="1316567"/>
            <a:ext cx="8228797" cy="6498167"/>
          </a:xfrm>
        </p:spPr>
        <p:txBody>
          <a:bodyPr/>
          <a:lstStyle>
            <a:lvl1pPr>
              <a:defRPr sz="4266"/>
            </a:lvl1pPr>
            <a:lvl2pPr>
              <a:defRPr sz="3733"/>
            </a:lvl2pPr>
            <a:lvl3pPr>
              <a:defRPr sz="3200"/>
            </a:lvl3pPr>
            <a:lvl4pPr>
              <a:defRPr sz="2666"/>
            </a:lvl4pPr>
            <a:lvl5pPr>
              <a:defRPr sz="2666"/>
            </a:lvl5pPr>
            <a:lvl6pPr>
              <a:defRPr sz="2666"/>
            </a:lvl6pPr>
            <a:lvl7pPr>
              <a:defRPr sz="2666"/>
            </a:lvl7pPr>
            <a:lvl8pPr>
              <a:defRPr sz="2666"/>
            </a:lvl8pPr>
            <a:lvl9pPr>
              <a:defRPr sz="2666"/>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0A1E94C7-1A37-4AAE-8661-BB36C0B26785}"/>
              </a:ext>
            </a:extLst>
          </p:cNvPr>
          <p:cNvSpPr>
            <a:spLocks noGrp="1"/>
          </p:cNvSpPr>
          <p:nvPr>
            <p:ph type="body" sz="half" idx="2"/>
          </p:nvPr>
        </p:nvSpPr>
        <p:spPr>
          <a:xfrm>
            <a:off x="1119609" y="2743200"/>
            <a:ext cx="5242471" cy="5082117"/>
          </a:xfrm>
        </p:spPr>
        <p:txBody>
          <a:bodyPr/>
          <a:lstStyle>
            <a:lvl1pPr marL="0" indent="0">
              <a:buNone/>
              <a:defRPr sz="2133"/>
            </a:lvl1pPr>
            <a:lvl2pPr marL="609539" indent="0">
              <a:buNone/>
              <a:defRPr sz="1866"/>
            </a:lvl2pPr>
            <a:lvl3pPr marL="1219078" indent="0">
              <a:buNone/>
              <a:defRPr sz="1600"/>
            </a:lvl3pPr>
            <a:lvl4pPr marL="1828617" indent="0">
              <a:buNone/>
              <a:defRPr sz="1333"/>
            </a:lvl4pPr>
            <a:lvl5pPr marL="2438156" indent="0">
              <a:buNone/>
              <a:defRPr sz="1333"/>
            </a:lvl5pPr>
            <a:lvl6pPr marL="3047695" indent="0">
              <a:buNone/>
              <a:defRPr sz="1333"/>
            </a:lvl6pPr>
            <a:lvl7pPr marL="3657234" indent="0">
              <a:buNone/>
              <a:defRPr sz="1333"/>
            </a:lvl7pPr>
            <a:lvl8pPr marL="4266773" indent="0">
              <a:buNone/>
              <a:defRPr sz="1333"/>
            </a:lvl8pPr>
            <a:lvl9pPr marL="4876312" indent="0">
              <a:buNone/>
              <a:defRPr sz="1333"/>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CADB9A77-845F-4EDD-B13D-F35B37DF8080}"/>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6" name="Plassholder for bunntekst 5">
            <a:extLst>
              <a:ext uri="{FF2B5EF4-FFF2-40B4-BE49-F238E27FC236}">
                <a16:creationId xmlns:a16="http://schemas.microsoft.com/office/drawing/2014/main" id="{9A919DCD-6F24-4A2C-9C81-D3C657ED2072}"/>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355FF9C0-E5AA-43FE-8113-0D9B3A3346BF}"/>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750819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624A89C-ABF4-498A-B795-070A64ADF8D1}"/>
              </a:ext>
            </a:extLst>
          </p:cNvPr>
          <p:cNvSpPr>
            <a:spLocks noGrp="1"/>
          </p:cNvSpPr>
          <p:nvPr>
            <p:ph type="title"/>
          </p:nvPr>
        </p:nvSpPr>
        <p:spPr>
          <a:xfrm>
            <a:off x="1119609" y="609600"/>
            <a:ext cx="5242471" cy="2133600"/>
          </a:xfrm>
        </p:spPr>
        <p:txBody>
          <a:bodyPr anchor="b"/>
          <a:lstStyle>
            <a:lvl1pPr>
              <a:defRPr sz="4266"/>
            </a:lvl1pPr>
          </a:lstStyle>
          <a:p>
            <a:r>
              <a:rPr lang="nb-NO"/>
              <a:t>Klikk for å redigere tittelstil</a:t>
            </a:r>
          </a:p>
        </p:txBody>
      </p:sp>
      <p:sp>
        <p:nvSpPr>
          <p:cNvPr id="3" name="Plassholder for bilde 2">
            <a:extLst>
              <a:ext uri="{FF2B5EF4-FFF2-40B4-BE49-F238E27FC236}">
                <a16:creationId xmlns:a16="http://schemas.microsoft.com/office/drawing/2014/main" id="{0B8C99F0-5F1E-4AB6-8189-75345E908340}"/>
              </a:ext>
            </a:extLst>
          </p:cNvPr>
          <p:cNvSpPr>
            <a:spLocks noGrp="1"/>
          </p:cNvSpPr>
          <p:nvPr>
            <p:ph type="pic" idx="1"/>
          </p:nvPr>
        </p:nvSpPr>
        <p:spPr>
          <a:xfrm>
            <a:off x="6910242" y="1316567"/>
            <a:ext cx="8228797" cy="6498167"/>
          </a:xfrm>
        </p:spPr>
        <p:txBody>
          <a:bodyPr/>
          <a:lstStyle>
            <a:lvl1pPr marL="0" indent="0">
              <a:buNone/>
              <a:defRPr sz="4266"/>
            </a:lvl1pPr>
            <a:lvl2pPr marL="609539" indent="0">
              <a:buNone/>
              <a:defRPr sz="3733"/>
            </a:lvl2pPr>
            <a:lvl3pPr marL="1219078" indent="0">
              <a:buNone/>
              <a:defRPr sz="3200"/>
            </a:lvl3pPr>
            <a:lvl4pPr marL="1828617" indent="0">
              <a:buNone/>
              <a:defRPr sz="2666"/>
            </a:lvl4pPr>
            <a:lvl5pPr marL="2438156" indent="0">
              <a:buNone/>
              <a:defRPr sz="2666"/>
            </a:lvl5pPr>
            <a:lvl6pPr marL="3047695" indent="0">
              <a:buNone/>
              <a:defRPr sz="2666"/>
            </a:lvl6pPr>
            <a:lvl7pPr marL="3657234" indent="0">
              <a:buNone/>
              <a:defRPr sz="2666"/>
            </a:lvl7pPr>
            <a:lvl8pPr marL="4266773" indent="0">
              <a:buNone/>
              <a:defRPr sz="2666"/>
            </a:lvl8pPr>
            <a:lvl9pPr marL="4876312" indent="0">
              <a:buNone/>
              <a:defRPr sz="2666"/>
            </a:lvl9pPr>
          </a:lstStyle>
          <a:p>
            <a:endParaRPr lang="nb-NO"/>
          </a:p>
        </p:txBody>
      </p:sp>
      <p:sp>
        <p:nvSpPr>
          <p:cNvPr id="4" name="Plassholder for tekst 3">
            <a:extLst>
              <a:ext uri="{FF2B5EF4-FFF2-40B4-BE49-F238E27FC236}">
                <a16:creationId xmlns:a16="http://schemas.microsoft.com/office/drawing/2014/main" id="{3CE05A2A-B2E4-47E4-BE03-39A80C2C0770}"/>
              </a:ext>
            </a:extLst>
          </p:cNvPr>
          <p:cNvSpPr>
            <a:spLocks noGrp="1"/>
          </p:cNvSpPr>
          <p:nvPr>
            <p:ph type="body" sz="half" idx="2"/>
          </p:nvPr>
        </p:nvSpPr>
        <p:spPr>
          <a:xfrm>
            <a:off x="1119609" y="2743200"/>
            <a:ext cx="5242471" cy="5082117"/>
          </a:xfrm>
        </p:spPr>
        <p:txBody>
          <a:bodyPr/>
          <a:lstStyle>
            <a:lvl1pPr marL="0" indent="0">
              <a:buNone/>
              <a:defRPr sz="2133"/>
            </a:lvl1pPr>
            <a:lvl2pPr marL="609539" indent="0">
              <a:buNone/>
              <a:defRPr sz="1866"/>
            </a:lvl2pPr>
            <a:lvl3pPr marL="1219078" indent="0">
              <a:buNone/>
              <a:defRPr sz="1600"/>
            </a:lvl3pPr>
            <a:lvl4pPr marL="1828617" indent="0">
              <a:buNone/>
              <a:defRPr sz="1333"/>
            </a:lvl4pPr>
            <a:lvl5pPr marL="2438156" indent="0">
              <a:buNone/>
              <a:defRPr sz="1333"/>
            </a:lvl5pPr>
            <a:lvl6pPr marL="3047695" indent="0">
              <a:buNone/>
              <a:defRPr sz="1333"/>
            </a:lvl6pPr>
            <a:lvl7pPr marL="3657234" indent="0">
              <a:buNone/>
              <a:defRPr sz="1333"/>
            </a:lvl7pPr>
            <a:lvl8pPr marL="4266773" indent="0">
              <a:buNone/>
              <a:defRPr sz="1333"/>
            </a:lvl8pPr>
            <a:lvl9pPr marL="4876312" indent="0">
              <a:buNone/>
              <a:defRPr sz="1333"/>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451D27E8-D043-4CA5-8735-8D6650192F9C}"/>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6" name="Plassholder for bunntekst 5">
            <a:extLst>
              <a:ext uri="{FF2B5EF4-FFF2-40B4-BE49-F238E27FC236}">
                <a16:creationId xmlns:a16="http://schemas.microsoft.com/office/drawing/2014/main" id="{AB4EFF73-3A00-4DB2-B48A-22ED2B4A6F0D}"/>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E5BE6317-21C8-493E-A566-B6177E93D2A3}"/>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11536449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D71BA78-5B0A-42CA-B0E7-0538F7CAA71E}"/>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AE0972B8-22D1-481D-819F-85168243EFAE}"/>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F08DCCE-0061-48AF-A13D-D98C879A991F}"/>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5" name="Plassholder for bunntekst 4">
            <a:extLst>
              <a:ext uri="{FF2B5EF4-FFF2-40B4-BE49-F238E27FC236}">
                <a16:creationId xmlns:a16="http://schemas.microsoft.com/office/drawing/2014/main" id="{873C6FDF-C150-48AA-BA10-DC9DF052D5B9}"/>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35CCE92C-C4CC-48DF-8776-811B3D2E51E7}"/>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39599605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endParaRPr lang="nb-NO" dirty="0"/>
          </a:p>
        </p:txBody>
      </p:sp>
      <p:sp>
        <p:nvSpPr>
          <p:cNvPr id="7" name="TextBox 6">
            <a:extLst>
              <a:ext uri="{FF2B5EF4-FFF2-40B4-BE49-F238E27FC236}">
                <a16:creationId xmlns:a16="http://schemas.microsoft.com/office/drawing/2014/main" id="{281E3279-D715-4827-9A13-05F2C36B5E51}"/>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57F43DFE-C8AB-4A89-875F-908F84F621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2319001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F6BD21F8-5738-4731-A54C-EE0AA95AFA65}"/>
              </a:ext>
            </a:extLst>
          </p:cNvPr>
          <p:cNvSpPr>
            <a:spLocks noGrp="1"/>
          </p:cNvSpPr>
          <p:nvPr>
            <p:ph type="title" orient="vert"/>
          </p:nvPr>
        </p:nvSpPr>
        <p:spPr>
          <a:xfrm>
            <a:off x="11632064" y="486834"/>
            <a:ext cx="3504858" cy="7749117"/>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C3A4B490-1BD9-4C75-BD64-7235C7E377A2}"/>
              </a:ext>
            </a:extLst>
          </p:cNvPr>
          <p:cNvSpPr>
            <a:spLocks noGrp="1"/>
          </p:cNvSpPr>
          <p:nvPr>
            <p:ph type="body" orient="vert" idx="1"/>
          </p:nvPr>
        </p:nvSpPr>
        <p:spPr>
          <a:xfrm>
            <a:off x="1117491" y="486834"/>
            <a:ext cx="10311393" cy="7749117"/>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BE778DE0-07EE-4487-91CD-30281502036B}"/>
              </a:ext>
            </a:extLst>
          </p:cNvPr>
          <p:cNvSpPr>
            <a:spLocks noGrp="1"/>
          </p:cNvSpPr>
          <p:nvPr>
            <p:ph type="dt" sz="half" idx="10"/>
          </p:nvPr>
        </p:nvSpPr>
        <p:spPr/>
        <p:txBody>
          <a:bodyPr/>
          <a:lstStyle/>
          <a:p>
            <a:fld id="{849A974F-0D2A-478B-8783-8081417DA414}" type="datetimeFigureOut">
              <a:rPr lang="nb-NO" smtClean="0"/>
              <a:t>05.11.2024</a:t>
            </a:fld>
            <a:endParaRPr lang="nb-NO"/>
          </a:p>
        </p:txBody>
      </p:sp>
      <p:sp>
        <p:nvSpPr>
          <p:cNvPr id="5" name="Plassholder for bunntekst 4">
            <a:extLst>
              <a:ext uri="{FF2B5EF4-FFF2-40B4-BE49-F238E27FC236}">
                <a16:creationId xmlns:a16="http://schemas.microsoft.com/office/drawing/2014/main" id="{AB3E9E13-0C2B-44B2-B6ED-B45D53E7C21B}"/>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A36C4C8E-BE12-436C-935D-BB58D926540E}"/>
              </a:ext>
            </a:extLst>
          </p:cNvPr>
          <p:cNvSpPr>
            <a:spLocks noGrp="1"/>
          </p:cNvSpPr>
          <p:nvPr>
            <p:ph type="sldNum" sz="quarter" idx="12"/>
          </p:nvPr>
        </p:nvSpPr>
        <p:spPr/>
        <p:txBody>
          <a:bodyPr/>
          <a:lstStyle/>
          <a:p>
            <a:fld id="{471B9331-CA6F-4E5F-8E86-D7B91DFF1ACB}" type="slidenum">
              <a:rPr lang="nb-NO" smtClean="0"/>
              <a:t>‹#›</a:t>
            </a:fld>
            <a:endParaRPr lang="nb-NO"/>
          </a:p>
        </p:txBody>
      </p:sp>
    </p:spTree>
    <p:extLst>
      <p:ext uri="{BB962C8B-B14F-4D97-AF65-F5344CB8AC3E}">
        <p14:creationId xmlns:p14="http://schemas.microsoft.com/office/powerpoint/2010/main" val="2579831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87" y="0"/>
            <a:ext cx="16256000" cy="9144000"/>
          </a:xfrm>
          <a:prstGeom prst="rect">
            <a:avLst/>
          </a:prstGeom>
        </p:spPr>
      </p:pic>
    </p:spTree>
    <p:extLst>
      <p:ext uri="{BB962C8B-B14F-4D97-AF65-F5344CB8AC3E}">
        <p14:creationId xmlns:p14="http://schemas.microsoft.com/office/powerpoint/2010/main" val="7322754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Tree>
    <p:extLst>
      <p:ext uri="{BB962C8B-B14F-4D97-AF65-F5344CB8AC3E}">
        <p14:creationId xmlns:p14="http://schemas.microsoft.com/office/powerpoint/2010/main" val="3815053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6411817" y="4322006"/>
            <a:ext cx="6869292" cy="1530351"/>
          </a:xfrm>
          <a:prstGeom prst="rect">
            <a:avLst/>
          </a:prstGeom>
        </p:spPr>
        <p:txBody>
          <a:bodyPr anchor="b">
            <a:normAutofit/>
          </a:bodyPr>
          <a:lstStyle>
            <a:lvl1pPr algn="l">
              <a:lnSpc>
                <a:spcPct val="100000"/>
              </a:lnSpc>
              <a:defRPr sz="3750">
                <a:solidFill>
                  <a:schemeClr val="bg1"/>
                </a:solidFill>
              </a:defRPr>
            </a:lvl1pPr>
          </a:lstStyle>
          <a:p>
            <a:r>
              <a:rPr lang="en-US"/>
              <a:t>Click to edit Master title style</a:t>
            </a:r>
            <a:endParaRPr lang="nb-NO"/>
          </a:p>
        </p:txBody>
      </p:sp>
      <p:sp>
        <p:nvSpPr>
          <p:cNvPr id="21" name="TextBox 6">
            <a:extLst>
              <a:ext uri="{FF2B5EF4-FFF2-40B4-BE49-F238E27FC236}">
                <a16:creationId xmlns:a16="http://schemas.microsoft.com/office/drawing/2014/main" id="{1F4A38C3-D8E7-404C-9494-8A3CD442BE93}"/>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9FF79737-398F-402C-B43D-CC3B4D295C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Tree>
    <p:extLst>
      <p:ext uri="{BB962C8B-B14F-4D97-AF65-F5344CB8AC3E}">
        <p14:creationId xmlns:p14="http://schemas.microsoft.com/office/powerpoint/2010/main" val="24320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6"/>
            <a:ext cx="6869292" cy="1530351"/>
          </a:xfrm>
          <a:prstGeom prst="rect">
            <a:avLst/>
          </a:prstGeom>
        </p:spPr>
        <p:txBody>
          <a:bodyPr anchor="b">
            <a:normAutofit/>
          </a:bodyPr>
          <a:lstStyle>
            <a:lvl1pPr algn="l">
              <a:lnSpc>
                <a:spcPct val="100000"/>
              </a:lnSpc>
              <a:defRPr sz="3750">
                <a:solidFill>
                  <a:schemeClr val="tx2"/>
                </a:solidFill>
              </a:defRPr>
            </a:lvl1pPr>
          </a:lstStyle>
          <a:p>
            <a:r>
              <a:rPr lang="en-US"/>
              <a:t>Click to edit Master title style</a:t>
            </a:r>
            <a:endParaRPr lang="nb-NO"/>
          </a:p>
        </p:txBody>
      </p:sp>
      <p:sp>
        <p:nvSpPr>
          <p:cNvPr id="13" name="TextBox 6">
            <a:extLst>
              <a:ext uri="{FF2B5EF4-FFF2-40B4-BE49-F238E27FC236}">
                <a16:creationId xmlns:a16="http://schemas.microsoft.com/office/drawing/2014/main" id="{57D81D62-A055-4B15-80BD-929468DE16B6}"/>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7C1F27F4-9BAB-4737-9D61-BE140BB64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Tree>
    <p:extLst>
      <p:ext uri="{BB962C8B-B14F-4D97-AF65-F5344CB8AC3E}">
        <p14:creationId xmlns:p14="http://schemas.microsoft.com/office/powerpoint/2010/main" val="38599351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6"/>
            <a:ext cx="6869292" cy="1530351"/>
          </a:xfrm>
          <a:prstGeom prst="rect">
            <a:avLst/>
          </a:prstGeom>
        </p:spPr>
        <p:txBody>
          <a:bodyPr anchor="b">
            <a:normAutofit/>
          </a:bodyPr>
          <a:lstStyle>
            <a:lvl1pPr algn="l">
              <a:lnSpc>
                <a:spcPct val="100000"/>
              </a:lnSpc>
              <a:defRPr sz="375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281E3279-D715-4827-9A13-05F2C36B5E51}"/>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D40304B4-7494-47D7-BF34-9B696FCFA5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Tree>
    <p:extLst>
      <p:ext uri="{BB962C8B-B14F-4D97-AF65-F5344CB8AC3E}">
        <p14:creationId xmlns:p14="http://schemas.microsoft.com/office/powerpoint/2010/main" val="1726772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6"/>
            <a:ext cx="6869292" cy="1530351"/>
          </a:xfrm>
          <a:prstGeom prst="rect">
            <a:avLst/>
          </a:prstGeom>
        </p:spPr>
        <p:txBody>
          <a:bodyPr anchor="b">
            <a:normAutofit/>
          </a:bodyPr>
          <a:lstStyle>
            <a:lvl1pPr algn="l">
              <a:lnSpc>
                <a:spcPct val="100000"/>
              </a:lnSpc>
              <a:defRPr sz="3750">
                <a:solidFill>
                  <a:schemeClr val="accent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F2BBDBD0-71F1-4AEB-9367-24166E6A24AD}"/>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66B7CD85-C5A7-420A-9C64-DB45F6BFBB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Tree>
    <p:extLst>
      <p:ext uri="{BB962C8B-B14F-4D97-AF65-F5344CB8AC3E}">
        <p14:creationId xmlns:p14="http://schemas.microsoft.com/office/powerpoint/2010/main" val="2481057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6"/>
            <a:ext cx="6869292" cy="1530351"/>
          </a:xfrm>
          <a:prstGeom prst="rect">
            <a:avLst/>
          </a:prstGeom>
        </p:spPr>
        <p:txBody>
          <a:bodyPr anchor="b">
            <a:normAutofit/>
          </a:bodyPr>
          <a:lstStyle>
            <a:lvl1pPr algn="l">
              <a:lnSpc>
                <a:spcPct val="100000"/>
              </a:lnSpc>
              <a:defRPr sz="375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329772AB-FAFB-49F4-A971-BC91E98F61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Tree>
    <p:extLst>
      <p:ext uri="{BB962C8B-B14F-4D97-AF65-F5344CB8AC3E}">
        <p14:creationId xmlns:p14="http://schemas.microsoft.com/office/powerpoint/2010/main" val="41569992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6"/>
            <a:ext cx="6869292" cy="1530351"/>
          </a:xfrm>
          <a:prstGeom prst="rect">
            <a:avLst/>
          </a:prstGeom>
        </p:spPr>
        <p:txBody>
          <a:bodyPr anchor="b">
            <a:normAutofit/>
          </a:bodyPr>
          <a:lstStyle>
            <a:lvl1pPr algn="l">
              <a:lnSpc>
                <a:spcPct val="100000"/>
              </a:lnSpc>
              <a:defRPr sz="3750">
                <a:solidFill>
                  <a:schemeClr val="accent1"/>
                </a:solidFill>
              </a:defRPr>
            </a:lvl1pPr>
          </a:lstStyle>
          <a:p>
            <a:r>
              <a:rPr lang="en-US"/>
              <a:t>Click to edit Master title style</a:t>
            </a:r>
            <a:endParaRPr lang="nb-NO"/>
          </a:p>
        </p:txBody>
      </p:sp>
      <p:sp>
        <p:nvSpPr>
          <p:cNvPr id="6" name="TextBox 6">
            <a:extLst>
              <a:ext uri="{FF2B5EF4-FFF2-40B4-BE49-F238E27FC236}">
                <a16:creationId xmlns:a16="http://schemas.microsoft.com/office/drawing/2014/main" id="{4BDA1AFF-68C0-4650-8E52-6263233596B5}"/>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8" name="Bilde 6">
            <a:extLst>
              <a:ext uri="{FF2B5EF4-FFF2-40B4-BE49-F238E27FC236}">
                <a16:creationId xmlns:a16="http://schemas.microsoft.com/office/drawing/2014/main" id="{6AFBCE82-E8EF-4BEB-96EB-374F370914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Tree>
    <p:extLst>
      <p:ext uri="{BB962C8B-B14F-4D97-AF65-F5344CB8AC3E}">
        <p14:creationId xmlns:p14="http://schemas.microsoft.com/office/powerpoint/2010/main" val="7116818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6"/>
            <a:ext cx="6869292" cy="1530351"/>
          </a:xfrm>
          <a:prstGeom prst="rect">
            <a:avLst/>
          </a:prstGeom>
        </p:spPr>
        <p:txBody>
          <a:bodyPr anchor="b">
            <a:normAutofit/>
          </a:bodyPr>
          <a:lstStyle>
            <a:lvl1pPr algn="l">
              <a:lnSpc>
                <a:spcPct val="100000"/>
              </a:lnSpc>
              <a:defRPr sz="375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B30385E6-F6E9-42D3-B980-373913FC9D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Tree>
    <p:extLst>
      <p:ext uri="{BB962C8B-B14F-4D97-AF65-F5344CB8AC3E}">
        <p14:creationId xmlns:p14="http://schemas.microsoft.com/office/powerpoint/2010/main" val="3647541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accent1"/>
                </a:solidFill>
              </a:defRPr>
            </a:lvl1pPr>
          </a:lstStyle>
          <a:p>
            <a:r>
              <a:rPr lang="nb-NO"/>
              <a:t>Klikk for å redigere tittelstil</a:t>
            </a:r>
            <a:endParaRPr lang="nb-NO" dirty="0"/>
          </a:p>
        </p:txBody>
      </p:sp>
      <p:sp>
        <p:nvSpPr>
          <p:cNvPr id="7" name="TextBox 6">
            <a:extLst>
              <a:ext uri="{FF2B5EF4-FFF2-40B4-BE49-F238E27FC236}">
                <a16:creationId xmlns:a16="http://schemas.microsoft.com/office/drawing/2014/main" id="{F2BBDBD0-71F1-4AEB-9367-24166E6A24AD}"/>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BCAC403A-A759-4525-ACE7-2FACC03B96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587516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6"/>
            <a:ext cx="6869292" cy="1530351"/>
          </a:xfrm>
          <a:prstGeom prst="rect">
            <a:avLst/>
          </a:prstGeom>
        </p:spPr>
        <p:txBody>
          <a:bodyPr anchor="b">
            <a:normAutofit/>
          </a:bodyPr>
          <a:lstStyle>
            <a:lvl1pPr algn="l">
              <a:lnSpc>
                <a:spcPct val="100000"/>
              </a:lnSpc>
              <a:defRPr sz="375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E1A88B3D-2342-49C4-A88F-20F321BAF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Tree>
    <p:extLst>
      <p:ext uri="{BB962C8B-B14F-4D97-AF65-F5344CB8AC3E}">
        <p14:creationId xmlns:p14="http://schemas.microsoft.com/office/powerpoint/2010/main" val="2862235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48"/>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6"/>
            <a:ext cx="6869292" cy="1530351"/>
          </a:xfrm>
          <a:prstGeom prst="rect">
            <a:avLst/>
          </a:prstGeom>
        </p:spPr>
        <p:txBody>
          <a:bodyPr anchor="b">
            <a:normAutofit/>
          </a:bodyPr>
          <a:lstStyle>
            <a:lvl1pPr algn="l">
              <a:lnSpc>
                <a:spcPct val="100000"/>
              </a:lnSpc>
              <a:defRPr sz="3750">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85AFD46E-4D96-40A2-B62B-C7D9D643F9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Tree>
    <p:extLst>
      <p:ext uri="{BB962C8B-B14F-4D97-AF65-F5344CB8AC3E}">
        <p14:creationId xmlns:p14="http://schemas.microsoft.com/office/powerpoint/2010/main" val="2163000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tel og innhold">
    <p:spTree>
      <p:nvGrpSpPr>
        <p:cNvPr id="1" name=""/>
        <p:cNvGrpSpPr/>
        <p:nvPr/>
      </p:nvGrpSpPr>
      <p:grpSpPr>
        <a:xfrm>
          <a:off x="0" y="0"/>
          <a:ext cx="0" cy="0"/>
          <a:chOff x="0" y="0"/>
          <a:chExt cx="0" cy="0"/>
        </a:xfrm>
      </p:grpSpPr>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1069974" y="2484439"/>
            <a:ext cx="14114462" cy="59450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Plassholder for tittel 1">
            <a:extLst>
              <a:ext uri="{FF2B5EF4-FFF2-40B4-BE49-F238E27FC236}">
                <a16:creationId xmlns:a16="http://schemas.microsoft.com/office/drawing/2014/main" id="{758EB8A5-7F81-4483-A711-E1C9F1B9A1FA}"/>
              </a:ext>
            </a:extLst>
          </p:cNvPr>
          <p:cNvSpPr>
            <a:spLocks noGrp="1"/>
          </p:cNvSpPr>
          <p:nvPr>
            <p:ph type="title" hasCustomPrompt="1"/>
          </p:nvPr>
        </p:nvSpPr>
        <p:spPr>
          <a:xfrm>
            <a:off x="1069976" y="1269602"/>
            <a:ext cx="14114462" cy="692497"/>
          </a:xfrm>
          <a:prstGeom prst="rect">
            <a:avLst/>
          </a:prstGeom>
        </p:spPr>
        <p:txBody>
          <a:bodyPr vert="horz" lIns="0" tIns="0" rIns="0" bIns="0" rtlCol="0" anchor="t" anchorCtr="0">
            <a:noAutofit/>
          </a:bodyPr>
          <a:lstStyle>
            <a:lvl1pPr>
              <a:defRPr sz="3000"/>
            </a:lvl1pPr>
          </a:lstStyle>
          <a:p>
            <a:r>
              <a:rPr lang="nb-NO"/>
              <a:t>Klikk for å redigere tittelstil</a:t>
            </a:r>
          </a:p>
        </p:txBody>
      </p:sp>
    </p:spTree>
    <p:extLst>
      <p:ext uri="{BB962C8B-B14F-4D97-AF65-F5344CB8AC3E}">
        <p14:creationId xmlns:p14="http://schemas.microsoft.com/office/powerpoint/2010/main" val="39662609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1069974" y="2273163"/>
            <a:ext cx="6934523" cy="6156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8249914" y="2273163"/>
            <a:ext cx="6934523" cy="61563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hasCustomPrompt="1"/>
          </p:nvPr>
        </p:nvSpPr>
        <p:spPr>
          <a:xfrm>
            <a:off x="1069976" y="1269602"/>
            <a:ext cx="14114462" cy="692497"/>
          </a:xfrm>
          <a:prstGeom prst="rect">
            <a:avLst/>
          </a:prstGeom>
        </p:spPr>
        <p:txBody>
          <a:bodyPr vert="horz" lIns="0" tIns="0" rIns="0" bIns="0" rtlCol="0" anchor="t" anchorCtr="0">
            <a:noAutofit/>
          </a:bodyPr>
          <a:lstStyle>
            <a:lvl1pPr>
              <a:defRPr sz="3000"/>
            </a:lvl1pPr>
          </a:lstStyle>
          <a:p>
            <a:r>
              <a:rPr lang="nb-NO"/>
              <a:t>Klikk for å redigere tittelstil</a:t>
            </a:r>
          </a:p>
        </p:txBody>
      </p:sp>
    </p:spTree>
    <p:extLst>
      <p:ext uri="{BB962C8B-B14F-4D97-AF65-F5344CB8AC3E}">
        <p14:creationId xmlns:p14="http://schemas.microsoft.com/office/powerpoint/2010/main" val="34059390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905">
          <p15:clr>
            <a:srgbClr val="FBAE40"/>
          </p15:clr>
        </p15:guide>
        <p15:guide id="2" pos="899">
          <p15:clr>
            <a:srgbClr val="FBAE40"/>
          </p15:clr>
        </p15:guide>
        <p15:guide id="3" orient="horz" pos="7076">
          <p15:clr>
            <a:srgbClr val="FBAE40"/>
          </p15:clr>
        </p15:guide>
        <p15:guide id="4" pos="1275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2" y="3"/>
            <a:ext cx="16256033" cy="9145143"/>
          </a:xfrm>
          <a:prstGeom prst="rect">
            <a:avLst/>
          </a:prstGeom>
        </p:spPr>
        <p:txBody>
          <a:bodyPr lIns="0" tIns="2880000" rIns="0" bIns="0" anchor="t" anchorCtr="1"/>
          <a:lstStyle>
            <a:lvl1pPr marL="0" indent="0" algn="ctr">
              <a:buNone/>
              <a:defRPr sz="2250"/>
            </a:lvl1pPr>
          </a:lstStyle>
          <a:p>
            <a:r>
              <a:rPr lang="en-US"/>
              <a:t>Click icon to add picture</a:t>
            </a:r>
            <a:endParaRPr lang="nb-NO"/>
          </a:p>
        </p:txBody>
      </p:sp>
    </p:spTree>
    <p:extLst>
      <p:ext uri="{BB962C8B-B14F-4D97-AF65-F5344CB8AC3E}">
        <p14:creationId xmlns:p14="http://schemas.microsoft.com/office/powerpoint/2010/main" val="11026105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2" y="2"/>
            <a:ext cx="16256033" cy="4572572"/>
          </a:xfrm>
          <a:prstGeom prst="rect">
            <a:avLst/>
          </a:prstGeom>
        </p:spPr>
        <p:txBody>
          <a:bodyPr lIns="0" tIns="2880000" rIns="0" bIns="0" anchor="t" anchorCtr="1"/>
          <a:lstStyle>
            <a:lvl1pPr marL="0" indent="0" algn="ctr">
              <a:buNone/>
              <a:defRPr sz="2250"/>
            </a:lvl1pPr>
          </a:lstStyle>
          <a:p>
            <a:r>
              <a:rPr lang="en-US"/>
              <a:t>Click icon to add picture</a:t>
            </a:r>
            <a:endParaRPr lang="nb-NO"/>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2364232" y="5309938"/>
            <a:ext cx="12295196" cy="2971097"/>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689656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p:nvSpPr>
        <p:spPr>
          <a:xfrm>
            <a:off x="1944914" y="101602"/>
            <a:ext cx="13628915" cy="10740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8124599" y="3"/>
            <a:ext cx="8129816" cy="9145143"/>
          </a:xfrm>
          <a:prstGeom prst="rect">
            <a:avLst/>
          </a:prstGeom>
        </p:spPr>
        <p:txBody>
          <a:bodyPr lIns="0" tIns="720000" rIns="0" bIns="0" anchor="t" anchorCtr="1"/>
          <a:lstStyle>
            <a:lvl1pPr marL="0" indent="0" algn="ctr">
              <a:buNone/>
              <a:defRPr sz="2250"/>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1590" y="566057"/>
            <a:ext cx="6480810" cy="8049032"/>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1369307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p:nvSpPr>
        <p:spPr>
          <a:xfrm>
            <a:off x="1306286" y="130631"/>
            <a:ext cx="14557828" cy="19158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1"/>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2574"/>
            <a:ext cx="8129816" cy="4571428"/>
          </a:xfrm>
          <a:prstGeom prst="rect">
            <a:avLst/>
          </a:prstGeom>
        </p:spPr>
        <p:txBody>
          <a:bodyPr lIns="0" tIns="720000" rIns="0" bIns="0" anchor="t" anchorCtr="1"/>
          <a:lstStyle>
            <a:lvl1pPr marL="0" indent="0" algn="ctr">
              <a:buNone/>
              <a:defRPr sz="2250"/>
            </a:lvl1pPr>
          </a:lstStyle>
          <a:p>
            <a:r>
              <a:rPr lang="en-US"/>
              <a:t>Click icon to add picture</a:t>
            </a:r>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338380"/>
            <a:ext cx="5760720" cy="2520315"/>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2"/>
            <a:ext cx="8124596" cy="4572572"/>
          </a:xfrm>
          <a:prstGeom prst="rect">
            <a:avLst/>
          </a:prstGeom>
        </p:spPr>
        <p:txBody>
          <a:bodyPr lIns="0" tIns="720000" rIns="0" bIns="0" anchor="t" anchorCtr="1"/>
          <a:lstStyle>
            <a:lvl1pPr marL="0" indent="0" algn="ctr">
              <a:buNone/>
              <a:defRPr sz="2250"/>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6" y="4856073"/>
            <a:ext cx="5760720" cy="2520315"/>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735106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Dataside">
    <p:spTree>
      <p:nvGrpSpPr>
        <p:cNvPr id="1" name=""/>
        <p:cNvGrpSpPr/>
        <p:nvPr/>
      </p:nvGrpSpPr>
      <p:grpSpPr>
        <a:xfrm>
          <a:off x="0" y="0"/>
          <a:ext cx="0" cy="0"/>
          <a:chOff x="0" y="0"/>
          <a:chExt cx="0" cy="0"/>
        </a:xfrm>
      </p:grpSpPr>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1069976" y="1358539"/>
            <a:ext cx="14114461" cy="7074263"/>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pic>
        <p:nvPicPr>
          <p:cNvPr id="4" name="Bilde 6">
            <a:extLst>
              <a:ext uri="{FF2B5EF4-FFF2-40B4-BE49-F238E27FC236}">
                <a16:creationId xmlns:a16="http://schemas.microsoft.com/office/drawing/2014/main" id="{1B9B4353-5D1B-4BCE-A682-9C5762059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32602" y="469288"/>
            <a:ext cx="2065553" cy="698973"/>
          </a:xfrm>
          <a:prstGeom prst="rect">
            <a:avLst/>
          </a:prstGeom>
        </p:spPr>
      </p:pic>
      <p:sp>
        <p:nvSpPr>
          <p:cNvPr id="5" name="TextBox 6">
            <a:extLst>
              <a:ext uri="{FF2B5EF4-FFF2-40B4-BE49-F238E27FC236}">
                <a16:creationId xmlns:a16="http://schemas.microsoft.com/office/drawing/2014/main" id="{BC11229E-93A2-4C35-B4C5-3226B5229B0D}"/>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41406812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019"/>
            <a:ext cx="16254413" cy="9141965"/>
          </a:xfrm>
          <a:prstGeom prst="rect">
            <a:avLst/>
          </a:prstGeom>
        </p:spPr>
      </p:pic>
      <p:sp>
        <p:nvSpPr>
          <p:cNvPr id="6" name="Tittel 1"/>
          <p:cNvSpPr>
            <a:spLocks noGrp="1"/>
          </p:cNvSpPr>
          <p:nvPr>
            <p:ph type="title"/>
          </p:nvPr>
        </p:nvSpPr>
        <p:spPr>
          <a:xfrm>
            <a:off x="2365964" y="3681200"/>
            <a:ext cx="6120080" cy="1419611"/>
          </a:xfrm>
          <a:prstGeom prst="rect">
            <a:avLst/>
          </a:prstGeom>
        </p:spPr>
        <p:txBody>
          <a:bodyPr/>
          <a:lstStyle>
            <a:lvl1pPr>
              <a:defRPr>
                <a:solidFill>
                  <a:schemeClr val="bg1"/>
                </a:solidFill>
              </a:defRPr>
            </a:lvl1pPr>
          </a:lstStyle>
          <a:p>
            <a:r>
              <a:rPr lang="en-US"/>
              <a:t>Click to edit Master title style</a:t>
            </a:r>
            <a:endParaRPr lang="nb-NO"/>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65965" y="600107"/>
            <a:ext cx="439149" cy="440948"/>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23456106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endParaRPr lang="nb-NO" dirty="0"/>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684745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019"/>
            <a:ext cx="16254413" cy="9141965"/>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7209" y="4295662"/>
            <a:ext cx="1489437" cy="1495540"/>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p:nvSpPr>
        <p:spPr>
          <a:xfrm>
            <a:off x="8054543" y="7302500"/>
            <a:ext cx="3048000" cy="897618"/>
          </a:xfrm>
          <a:prstGeom prst="rect">
            <a:avLst/>
          </a:prstGeom>
          <a:noFill/>
        </p:spPr>
        <p:txBody>
          <a:bodyPr wrap="square" rtlCol="0">
            <a:spAutoFit/>
          </a:bodyPr>
          <a:lstStyle/>
          <a:p>
            <a:pPr>
              <a:lnSpc>
                <a:spcPct val="150000"/>
              </a:lnSpc>
              <a:spcBef>
                <a:spcPts val="0"/>
              </a:spcBef>
            </a:pPr>
            <a:r>
              <a:rPr lang="nb-NO" sz="900" b="1">
                <a:solidFill>
                  <a:schemeClr val="bg1"/>
                </a:solidFill>
              </a:rPr>
              <a:t>Digitaliseringsdirektoratet</a:t>
            </a:r>
          </a:p>
          <a:p>
            <a:pPr>
              <a:lnSpc>
                <a:spcPct val="150000"/>
              </a:lnSpc>
              <a:spcBef>
                <a:spcPts val="0"/>
              </a:spcBef>
            </a:pPr>
            <a:r>
              <a:rPr lang="nb-NO" sz="900" b="0">
                <a:solidFill>
                  <a:schemeClr val="bg1"/>
                </a:solidFill>
              </a:rPr>
              <a:t>postmottak@digdir.no</a:t>
            </a:r>
          </a:p>
          <a:p>
            <a:pPr>
              <a:lnSpc>
                <a:spcPct val="150000"/>
              </a:lnSpc>
              <a:spcBef>
                <a:spcPts val="0"/>
              </a:spcBef>
            </a:pPr>
            <a:r>
              <a:rPr lang="nb-NO" sz="900" b="0">
                <a:solidFill>
                  <a:schemeClr val="bg1"/>
                </a:solidFill>
              </a:rPr>
              <a:t>22 45 10 00</a:t>
            </a:r>
          </a:p>
          <a:p>
            <a:pPr>
              <a:lnSpc>
                <a:spcPct val="150000"/>
              </a:lnSpc>
              <a:spcBef>
                <a:spcPts val="0"/>
              </a:spcBef>
            </a:pPr>
            <a:r>
              <a:rPr lang="nb-NO" sz="900"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p:nvSpPr>
        <p:spPr>
          <a:xfrm>
            <a:off x="11102543" y="7302500"/>
            <a:ext cx="3048000" cy="897618"/>
          </a:xfrm>
          <a:prstGeom prst="rect">
            <a:avLst/>
          </a:prstGeom>
          <a:noFill/>
        </p:spPr>
        <p:txBody>
          <a:bodyPr wrap="square" rtlCol="0">
            <a:spAutoFit/>
          </a:bodyPr>
          <a:lstStyle/>
          <a:p>
            <a:pPr>
              <a:lnSpc>
                <a:spcPct val="150000"/>
              </a:lnSpc>
              <a:spcBef>
                <a:spcPts val="0"/>
              </a:spcBef>
            </a:pPr>
            <a:r>
              <a:rPr lang="nb-NO" sz="900" b="1">
                <a:solidFill>
                  <a:schemeClr val="bg1"/>
                </a:solidFill>
              </a:rPr>
              <a:t>Besøksadresser:</a:t>
            </a:r>
          </a:p>
          <a:p>
            <a:pPr>
              <a:lnSpc>
                <a:spcPct val="150000"/>
              </a:lnSpc>
              <a:spcBef>
                <a:spcPts val="0"/>
              </a:spcBef>
            </a:pPr>
            <a:r>
              <a:rPr lang="nb-NO" sz="900" b="1">
                <a:solidFill>
                  <a:schemeClr val="bg1"/>
                </a:solidFill>
              </a:rPr>
              <a:t>Industriveien 1, 8900 Brønnøysund</a:t>
            </a:r>
          </a:p>
          <a:p>
            <a:pPr>
              <a:lnSpc>
                <a:spcPct val="150000"/>
              </a:lnSpc>
              <a:spcBef>
                <a:spcPts val="0"/>
              </a:spcBef>
            </a:pPr>
            <a:r>
              <a:rPr lang="nb-NO" sz="900" b="1">
                <a:solidFill>
                  <a:schemeClr val="bg1"/>
                </a:solidFill>
              </a:rPr>
              <a:t>Skrivarevegen 2, 6863 Leikanger</a:t>
            </a:r>
          </a:p>
          <a:p>
            <a:pPr>
              <a:lnSpc>
                <a:spcPct val="150000"/>
              </a:lnSpc>
              <a:spcBef>
                <a:spcPts val="0"/>
              </a:spcBef>
            </a:pPr>
            <a:r>
              <a:rPr lang="nb-NO" sz="900" b="1">
                <a:solidFill>
                  <a:schemeClr val="bg1"/>
                </a:solidFill>
              </a:rPr>
              <a:t>Grev Wedels Plass 9, 0151 Oslo</a:t>
            </a:r>
            <a:endParaRPr lang="nb-NO" sz="900" b="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p:nvSpPr>
        <p:spPr>
          <a:xfrm>
            <a:off x="3393645" y="7302500"/>
            <a:ext cx="3048000" cy="274370"/>
          </a:xfrm>
          <a:prstGeom prst="rect">
            <a:avLst/>
          </a:prstGeom>
          <a:noFill/>
        </p:spPr>
        <p:txBody>
          <a:bodyPr wrap="square" rtlCol="0">
            <a:spAutoFit/>
          </a:bodyPr>
          <a:lstStyle/>
          <a:p>
            <a:pPr>
              <a:lnSpc>
                <a:spcPct val="150000"/>
              </a:lnSpc>
              <a:spcBef>
                <a:spcPts val="0"/>
              </a:spcBef>
            </a:pPr>
            <a:r>
              <a:rPr lang="nb-NO" sz="900" b="1">
                <a:solidFill>
                  <a:srgbClr val="1E2B3C"/>
                </a:solidFill>
              </a:rPr>
              <a:t>digdir.no</a:t>
            </a:r>
            <a:endParaRPr lang="nb-NO" sz="900" b="0">
              <a:solidFill>
                <a:srgbClr val="1E2B3C"/>
              </a:solidFill>
            </a:endParaRPr>
          </a:p>
        </p:txBody>
      </p:sp>
    </p:spTree>
    <p:extLst>
      <p:ext uri="{BB962C8B-B14F-4D97-AF65-F5344CB8AC3E}">
        <p14:creationId xmlns:p14="http://schemas.microsoft.com/office/powerpoint/2010/main" val="21083069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ksjonskille #1">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6254413" cy="9144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bg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2" y="642757"/>
            <a:ext cx="12295197" cy="692497"/>
          </a:xfrm>
          <a:prstGeom prst="rect">
            <a:avLst/>
          </a:prstGeom>
        </p:spPr>
        <p:txBody>
          <a:bodyPr vert="horz" lIns="0" tIns="0" rIns="0" bIns="0" rtlCol="0" anchor="b" anchorCtr="0">
            <a:noAutofit/>
          </a:bodyPr>
          <a:lstStyle>
            <a:lvl1pPr>
              <a:defRPr sz="3200">
                <a:solidFill>
                  <a:schemeClr val="bg1"/>
                </a:solidFill>
              </a:defRPr>
            </a:lvl1pPr>
          </a:lstStyle>
          <a:p>
            <a:r>
              <a:rPr lang="nb-NO"/>
              <a:t>Seksjon XX</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p:nvPr>
        </p:nvSpPr>
        <p:spPr>
          <a:xfrm>
            <a:off x="2413001" y="2197101"/>
            <a:ext cx="11179175" cy="5143500"/>
          </a:xfrm>
        </p:spPr>
        <p:txBody>
          <a:bodyPr/>
          <a:lstStyle>
            <a:lvl1pPr>
              <a:buClr>
                <a:schemeClr val="bg1"/>
              </a:buClr>
              <a:defRPr sz="4500">
                <a:solidFill>
                  <a:schemeClr val="bg1"/>
                </a:solidFill>
              </a:defRPr>
            </a:lvl1pPr>
            <a:lvl2pPr>
              <a:buClr>
                <a:schemeClr val="bg1"/>
              </a:buClr>
              <a:defRPr>
                <a:solidFill>
                  <a:schemeClr val="bg1"/>
                </a:solidFill>
              </a:defRPr>
            </a:lvl2pPr>
            <a:lvl3pPr>
              <a:buClr>
                <a:schemeClr val="bg1"/>
              </a:buClr>
              <a:buNone/>
              <a:defRPr>
                <a:solidFill>
                  <a:schemeClr val="bg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for å redigere tekststiler i malen</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bg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E9900E59-4E35-7D48-98A5-45C0BF14E007}"/>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solidFill>
                  <a:schemeClr val="bg1"/>
                </a:solidFill>
              </a:rPr>
              <a:t>Erfaringsrapport 2020 | Handlingsplanen for regjeringens digitaliseringsstrategi | </a:t>
            </a:r>
          </a:p>
        </p:txBody>
      </p:sp>
    </p:spTree>
    <p:extLst>
      <p:ext uri="{BB962C8B-B14F-4D97-AF65-F5344CB8AC3E}">
        <p14:creationId xmlns:p14="http://schemas.microsoft.com/office/powerpoint/2010/main" val="7761800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ksjonskille #2">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6254413" cy="9144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2" y="642757"/>
            <a:ext cx="12295197" cy="692497"/>
          </a:xfrm>
          <a:prstGeom prst="rect">
            <a:avLst/>
          </a:prstGeom>
        </p:spPr>
        <p:txBody>
          <a:bodyPr vert="horz" lIns="0" tIns="0" rIns="0" bIns="0" rtlCol="0" anchor="b" anchorCtr="0">
            <a:noAutofit/>
          </a:bodyPr>
          <a:lstStyle>
            <a:lvl1pPr>
              <a:defRPr sz="3200">
                <a:solidFill>
                  <a:schemeClr val="accent1"/>
                </a:solidFill>
              </a:defRPr>
            </a:lvl1pPr>
          </a:lstStyle>
          <a:p>
            <a:r>
              <a:rPr lang="nb-NO"/>
              <a:t>Seksjon XX</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p:nvPr>
        </p:nvSpPr>
        <p:spPr>
          <a:xfrm>
            <a:off x="2413001" y="2197101"/>
            <a:ext cx="11179175" cy="5143500"/>
          </a:xfrm>
        </p:spPr>
        <p:txBody>
          <a:bodyPr/>
          <a:lstStyle>
            <a:lvl1pPr>
              <a:buClr>
                <a:schemeClr val="accent1"/>
              </a:buClr>
              <a:defRPr sz="450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for å redigere tekststiler i malen</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D3647A6E-3370-8144-A926-212CE4331568}"/>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19551323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ksjonskille #3">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6254413" cy="9144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2" y="642757"/>
            <a:ext cx="12295197" cy="692497"/>
          </a:xfrm>
          <a:prstGeom prst="rect">
            <a:avLst/>
          </a:prstGeom>
        </p:spPr>
        <p:txBody>
          <a:bodyPr vert="horz" lIns="0" tIns="0" rIns="0" bIns="0" rtlCol="0" anchor="b" anchorCtr="0">
            <a:noAutofit/>
          </a:bodyPr>
          <a:lstStyle>
            <a:lvl1pPr>
              <a:defRPr sz="3200">
                <a:solidFill>
                  <a:schemeClr val="accent1"/>
                </a:solidFill>
              </a:defRPr>
            </a:lvl1pPr>
          </a:lstStyle>
          <a:p>
            <a:r>
              <a:rPr lang="nb-NO"/>
              <a:t>Seksjon XX</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p:nvPr>
        </p:nvSpPr>
        <p:spPr>
          <a:xfrm>
            <a:off x="2413001" y="2197101"/>
            <a:ext cx="11179175" cy="5143500"/>
          </a:xfrm>
        </p:spPr>
        <p:txBody>
          <a:bodyPr/>
          <a:lstStyle>
            <a:lvl1pPr>
              <a:buClr>
                <a:schemeClr val="accent1"/>
              </a:buClr>
              <a:defRPr sz="450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for å redigere tekststiler i malen</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C3302A15-128D-4F45-88F2-CBE88A1DA510}"/>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33329482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ksjonskille #4">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6254413" cy="9144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2" y="642757"/>
            <a:ext cx="12295197" cy="692497"/>
          </a:xfrm>
          <a:prstGeom prst="rect">
            <a:avLst/>
          </a:prstGeom>
        </p:spPr>
        <p:txBody>
          <a:bodyPr vert="horz" lIns="0" tIns="0" rIns="0" bIns="0" rtlCol="0" anchor="b" anchorCtr="0">
            <a:noAutofit/>
          </a:bodyPr>
          <a:lstStyle>
            <a:lvl1pPr>
              <a:defRPr sz="3200">
                <a:solidFill>
                  <a:schemeClr val="accent1"/>
                </a:solidFill>
              </a:defRPr>
            </a:lvl1pPr>
          </a:lstStyle>
          <a:p>
            <a:r>
              <a:rPr lang="nb-NO"/>
              <a:t>Seksjon XX</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p:nvPr>
        </p:nvSpPr>
        <p:spPr>
          <a:xfrm>
            <a:off x="2413001" y="2197101"/>
            <a:ext cx="11179175" cy="5143500"/>
          </a:xfrm>
        </p:spPr>
        <p:txBody>
          <a:bodyPr/>
          <a:lstStyle>
            <a:lvl1pPr>
              <a:buClr>
                <a:schemeClr val="accent1"/>
              </a:buClr>
              <a:defRPr sz="450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for å redigere tekststiler i malen</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25A9B715-DB55-D545-AD9E-11B0A4DE14AF}"/>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751240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Innhold - 2 spalter">
    <p:spTree>
      <p:nvGrpSpPr>
        <p:cNvPr id="1" name=""/>
        <p:cNvGrpSpPr/>
        <p:nvPr/>
      </p:nvGrpSpPr>
      <p:grpSpPr>
        <a:xfrm>
          <a:off x="0" y="0"/>
          <a:ext cx="0" cy="0"/>
          <a:chOff x="0" y="0"/>
          <a:chExt cx="0" cy="0"/>
        </a:xfrm>
      </p:grpSpPr>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2" y="642757"/>
            <a:ext cx="12295197" cy="692497"/>
          </a:xfrm>
          <a:prstGeom prst="rect">
            <a:avLst/>
          </a:prstGeom>
        </p:spPr>
        <p:txBody>
          <a:bodyPr vert="horz" lIns="0" tIns="0" rIns="0" bIns="0" rtlCol="0" anchor="t" anchorCtr="0">
            <a:noAutofit/>
          </a:bodyPr>
          <a:lstStyle>
            <a:lvl1pPr>
              <a:defRPr sz="4200">
                <a:solidFill>
                  <a:schemeClr val="tx1"/>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296979" y="1762700"/>
            <a:ext cx="12295196" cy="5577901"/>
          </a:xfrm>
        </p:spPr>
        <p:txBody>
          <a:bodyPr numCol="2" spcCol="180000">
            <a:noAutofit/>
          </a:bodyPr>
          <a:lstStyle>
            <a:lvl1pPr marL="0" indent="0">
              <a:lnSpc>
                <a:spcPts val="1800"/>
              </a:lnSpc>
              <a:spcBef>
                <a:spcPts val="0"/>
              </a:spcBef>
              <a:buClr>
                <a:schemeClr val="accent1"/>
              </a:buClr>
              <a:buNone/>
              <a:defRPr sz="15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3833368"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D8FD0190-F11F-D349-96A2-D814D5E12493}"/>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40867247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880">
          <p15:clr>
            <a:srgbClr val="FBAE40"/>
          </p15:clr>
        </p15:guide>
        <p15:guide id="2" pos="856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Innhold - 3 spalter">
    <p:spTree>
      <p:nvGrpSpPr>
        <p:cNvPr id="1" name=""/>
        <p:cNvGrpSpPr/>
        <p:nvPr/>
      </p:nvGrpSpPr>
      <p:grpSpPr>
        <a:xfrm>
          <a:off x="0" y="0"/>
          <a:ext cx="0" cy="0"/>
          <a:chOff x="0" y="0"/>
          <a:chExt cx="0" cy="0"/>
        </a:xfrm>
      </p:grpSpPr>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2" y="642757"/>
            <a:ext cx="12295197" cy="692497"/>
          </a:xfrm>
          <a:prstGeom prst="rect">
            <a:avLst/>
          </a:prstGeom>
        </p:spPr>
        <p:txBody>
          <a:bodyPr vert="horz" lIns="0" tIns="0" rIns="0" bIns="0" rtlCol="0" anchor="t" anchorCtr="0">
            <a:noAutofit/>
          </a:bodyPr>
          <a:lstStyle>
            <a:lvl1pPr>
              <a:defRPr sz="4200">
                <a:solidFill>
                  <a:schemeClr val="tx1"/>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296979" y="1762700"/>
            <a:ext cx="12295197" cy="5577901"/>
          </a:xfrm>
        </p:spPr>
        <p:txBody>
          <a:bodyPr numCol="3" spcCol="180000">
            <a:noAutofit/>
          </a:bodyPr>
          <a:lstStyle>
            <a:lvl1pPr marL="0" indent="0">
              <a:lnSpc>
                <a:spcPts val="1800"/>
              </a:lnSpc>
              <a:spcBef>
                <a:spcPts val="0"/>
              </a:spcBef>
              <a:buClr>
                <a:schemeClr val="accent1"/>
              </a:buClr>
              <a:buNone/>
              <a:defRPr sz="15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2" y="8267700"/>
            <a:ext cx="3592068"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9" name="TekstSylinder 11">
            <a:extLst>
              <a:ext uri="{FF2B5EF4-FFF2-40B4-BE49-F238E27FC236}">
                <a16:creationId xmlns:a16="http://schemas.microsoft.com/office/drawing/2014/main" id="{552A24EC-83D5-5943-9F92-207CF50B455C}"/>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68701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88">
          <p15:clr>
            <a:srgbClr val="FBAE40"/>
          </p15:clr>
        </p15:guide>
        <p15:guide id="2" pos="511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Innhold med top illustrasjon - 2 spalter">
    <p:spTree>
      <p:nvGrpSpPr>
        <p:cNvPr id="1" name=""/>
        <p:cNvGrpSpPr/>
        <p:nvPr/>
      </p:nvGrpSpPr>
      <p:grpSpPr>
        <a:xfrm>
          <a:off x="0" y="0"/>
          <a:ext cx="0" cy="0"/>
          <a:chOff x="0" y="0"/>
          <a:chExt cx="0" cy="0"/>
        </a:xfrm>
      </p:grpSpPr>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3" y="642757"/>
            <a:ext cx="8142930" cy="692497"/>
          </a:xfrm>
          <a:prstGeom prst="rect">
            <a:avLst/>
          </a:prstGeom>
        </p:spPr>
        <p:txBody>
          <a:bodyPr vert="horz" lIns="0" tIns="0" rIns="0" bIns="0" rtlCol="0" anchor="t" anchorCtr="0">
            <a:noAutofit/>
          </a:bodyPr>
          <a:lstStyle>
            <a:lvl1pPr>
              <a:defRPr sz="4200">
                <a:solidFill>
                  <a:schemeClr val="tx1"/>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296978" y="1762700"/>
            <a:ext cx="8143384" cy="5577901"/>
          </a:xfrm>
        </p:spPr>
        <p:txBody>
          <a:bodyPr numCol="1" spcCol="180000">
            <a:noAutofit/>
          </a:bodyPr>
          <a:lstStyle>
            <a:lvl1pPr marL="0" indent="0">
              <a:lnSpc>
                <a:spcPts val="1800"/>
              </a:lnSpc>
              <a:spcBef>
                <a:spcPts val="0"/>
              </a:spcBef>
              <a:buClr>
                <a:schemeClr val="accent1"/>
              </a:buClr>
              <a:buNone/>
              <a:defRPr sz="15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9" name="Plassholder for tekst 3">
            <a:extLst>
              <a:ext uri="{FF2B5EF4-FFF2-40B4-BE49-F238E27FC236}">
                <a16:creationId xmlns:a16="http://schemas.microsoft.com/office/drawing/2014/main" id="{6C405403-CC0F-4153-A515-68644E591D10}"/>
              </a:ext>
            </a:extLst>
          </p:cNvPr>
          <p:cNvSpPr>
            <a:spLocks noGrp="1"/>
          </p:cNvSpPr>
          <p:nvPr>
            <p:ph type="body" sz="quarter" idx="13" hasCustomPrompt="1"/>
          </p:nvPr>
        </p:nvSpPr>
        <p:spPr>
          <a:xfrm>
            <a:off x="9867809" y="4572000"/>
            <a:ext cx="4324927" cy="2768600"/>
          </a:xfrm>
        </p:spPr>
        <p:txBody>
          <a:bodyPr>
            <a:noAutofit/>
          </a:bodyPr>
          <a:lstStyle>
            <a:lvl1pPr marL="0" indent="0">
              <a:lnSpc>
                <a:spcPts val="1800"/>
              </a:lnSpc>
              <a:spcBef>
                <a:spcPts val="0"/>
              </a:spcBef>
              <a:buFont typeface="Arial" panose="020B0604020202020204" pitchFamily="34" charset="0"/>
              <a:buNone/>
              <a:defRPr sz="1500"/>
            </a:lvl1pPr>
            <a:lvl2pPr>
              <a:buNone/>
              <a:defRPr/>
            </a:lvl2pPr>
            <a:lvl3pPr>
              <a:buNone/>
              <a:defRPr/>
            </a:lvl3pPr>
            <a:lvl4pPr>
              <a:buNone/>
              <a:defRPr/>
            </a:lvl4pPr>
            <a:lvl5pPr>
              <a:buNone/>
              <a:defRPr/>
            </a:lvl5pPr>
          </a:lstStyle>
          <a:p>
            <a:pPr lvl="0"/>
            <a:r>
              <a:rPr lang="nb-NO"/>
              <a:t>Klikk her for å legge til tekst</a:t>
            </a:r>
          </a:p>
        </p:txBody>
      </p:sp>
      <p:sp>
        <p:nvSpPr>
          <p:cNvPr id="5" name="Plassholder for bilde 4">
            <a:extLst>
              <a:ext uri="{FF2B5EF4-FFF2-40B4-BE49-F238E27FC236}">
                <a16:creationId xmlns:a16="http://schemas.microsoft.com/office/drawing/2014/main" id="{89647088-6F11-4C45-B447-ED2C055A41A1}"/>
              </a:ext>
            </a:extLst>
          </p:cNvPr>
          <p:cNvSpPr>
            <a:spLocks noGrp="1"/>
          </p:cNvSpPr>
          <p:nvPr>
            <p:ph type="pic" sz="quarter" idx="14"/>
          </p:nvPr>
        </p:nvSpPr>
        <p:spPr>
          <a:xfrm>
            <a:off x="9867809" y="1"/>
            <a:ext cx="6386604" cy="3833871"/>
          </a:xfrm>
        </p:spPr>
        <p:txBody>
          <a:bodyPr/>
          <a:lstStyle>
            <a:lvl1pPr>
              <a:buNone/>
              <a:defRPr/>
            </a:lvl1pPr>
          </a:lstStyle>
          <a:p>
            <a:endParaRPr lang="nb-NO"/>
          </a:p>
        </p:txBody>
      </p:sp>
      <p:sp>
        <p:nvSpPr>
          <p:cNvPr id="11" name="TekstSylinder 11">
            <a:extLst>
              <a:ext uri="{FF2B5EF4-FFF2-40B4-BE49-F238E27FC236}">
                <a16:creationId xmlns:a16="http://schemas.microsoft.com/office/drawing/2014/main" id="{1BEB8B4A-C7D5-B14B-83A1-98E502717C76}"/>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2326029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Innhold med bunn illustrasjon - 2 spalter">
    <p:spTree>
      <p:nvGrpSpPr>
        <p:cNvPr id="1" name=""/>
        <p:cNvGrpSpPr/>
        <p:nvPr/>
      </p:nvGrpSpPr>
      <p:grpSpPr>
        <a:xfrm>
          <a:off x="0" y="0"/>
          <a:ext cx="0" cy="0"/>
          <a:chOff x="0" y="0"/>
          <a:chExt cx="0" cy="0"/>
        </a:xfrm>
      </p:grpSpPr>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3" y="642757"/>
            <a:ext cx="8142930" cy="692497"/>
          </a:xfrm>
          <a:prstGeom prst="rect">
            <a:avLst/>
          </a:prstGeom>
        </p:spPr>
        <p:txBody>
          <a:bodyPr vert="horz" lIns="0" tIns="0" rIns="0" bIns="0" rtlCol="0" anchor="t" anchorCtr="0">
            <a:noAutofit/>
          </a:bodyPr>
          <a:lstStyle>
            <a:lvl1pPr>
              <a:defRPr sz="4200">
                <a:solidFill>
                  <a:schemeClr val="tx1"/>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296978" y="1762700"/>
            <a:ext cx="8143384" cy="5577901"/>
          </a:xfrm>
        </p:spPr>
        <p:txBody>
          <a:bodyPr>
            <a:noAutofit/>
          </a:bodyPr>
          <a:lstStyle>
            <a:lvl1pPr marL="0">
              <a:lnSpc>
                <a:spcPts val="1800"/>
              </a:lnSpc>
              <a:spcBef>
                <a:spcPts val="0"/>
              </a:spcBef>
              <a:buClr>
                <a:schemeClr val="accent1"/>
              </a:buClr>
              <a:buNone/>
              <a:defRPr sz="15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9" name="Plassholder for tekst 3">
            <a:extLst>
              <a:ext uri="{FF2B5EF4-FFF2-40B4-BE49-F238E27FC236}">
                <a16:creationId xmlns:a16="http://schemas.microsoft.com/office/drawing/2014/main" id="{6C405403-CC0F-4153-A515-68644E591D10}"/>
              </a:ext>
            </a:extLst>
          </p:cNvPr>
          <p:cNvSpPr>
            <a:spLocks noGrp="1"/>
          </p:cNvSpPr>
          <p:nvPr>
            <p:ph type="body" sz="quarter" idx="13" hasCustomPrompt="1"/>
          </p:nvPr>
        </p:nvSpPr>
        <p:spPr>
          <a:xfrm>
            <a:off x="9867809" y="1762699"/>
            <a:ext cx="4324927" cy="2768600"/>
          </a:xfrm>
        </p:spPr>
        <p:txBody>
          <a:bodyPr>
            <a:noAutofit/>
          </a:bodyPr>
          <a:lstStyle>
            <a:lvl1pPr marL="0" indent="0">
              <a:lnSpc>
                <a:spcPts val="1800"/>
              </a:lnSpc>
              <a:spcBef>
                <a:spcPts val="0"/>
              </a:spcBef>
              <a:buFont typeface="Arial" panose="020B0604020202020204" pitchFamily="34" charset="0"/>
              <a:buNone/>
              <a:defRPr sz="1500"/>
            </a:lvl1pPr>
            <a:lvl2pPr>
              <a:buNone/>
              <a:defRPr/>
            </a:lvl2pPr>
            <a:lvl3pPr>
              <a:buNone/>
              <a:defRPr/>
            </a:lvl3pPr>
            <a:lvl4pPr>
              <a:buNone/>
              <a:defRPr/>
            </a:lvl4pPr>
            <a:lvl5pPr>
              <a:buNone/>
              <a:defRPr/>
            </a:lvl5pPr>
          </a:lstStyle>
          <a:p>
            <a:pPr lvl="0"/>
            <a:r>
              <a:rPr lang="nb-NO"/>
              <a:t>Klikk her for å legge til tekst</a:t>
            </a:r>
          </a:p>
        </p:txBody>
      </p:sp>
      <p:sp>
        <p:nvSpPr>
          <p:cNvPr id="5" name="Plassholder for bilde 4">
            <a:extLst>
              <a:ext uri="{FF2B5EF4-FFF2-40B4-BE49-F238E27FC236}">
                <a16:creationId xmlns:a16="http://schemas.microsoft.com/office/drawing/2014/main" id="{89647088-6F11-4C45-B447-ED2C055A41A1}"/>
              </a:ext>
            </a:extLst>
          </p:cNvPr>
          <p:cNvSpPr>
            <a:spLocks noGrp="1"/>
          </p:cNvSpPr>
          <p:nvPr>
            <p:ph type="pic" sz="quarter" idx="14"/>
          </p:nvPr>
        </p:nvSpPr>
        <p:spPr>
          <a:xfrm>
            <a:off x="9867809" y="5310130"/>
            <a:ext cx="6386604" cy="3833871"/>
          </a:xfrm>
        </p:spPr>
        <p:txBody>
          <a:bodyPr/>
          <a:lstStyle>
            <a:lvl1pPr>
              <a:buNone/>
              <a:defRPr/>
            </a:lvl1pPr>
          </a:lstStyle>
          <a:p>
            <a:endParaRPr lang="nb-NO"/>
          </a:p>
        </p:txBody>
      </p:sp>
      <p:sp>
        <p:nvSpPr>
          <p:cNvPr id="11" name="TekstSylinder 11">
            <a:extLst>
              <a:ext uri="{FF2B5EF4-FFF2-40B4-BE49-F238E27FC236}">
                <a16:creationId xmlns:a16="http://schemas.microsoft.com/office/drawing/2014/main" id="{4EF92CA0-D2A4-B846-870D-689CFA65B1FA}"/>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34344624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nnhold med ikon - 2 spalter">
    <p:spTree>
      <p:nvGrpSpPr>
        <p:cNvPr id="1" name=""/>
        <p:cNvGrpSpPr/>
        <p:nvPr/>
      </p:nvGrpSpPr>
      <p:grpSpPr>
        <a:xfrm>
          <a:off x="0" y="0"/>
          <a:ext cx="0" cy="0"/>
          <a:chOff x="0" y="0"/>
          <a:chExt cx="0" cy="0"/>
        </a:xfrm>
      </p:grpSpPr>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296978" y="2190146"/>
            <a:ext cx="13281945" cy="5150455"/>
          </a:xfrm>
        </p:spPr>
        <p:txBody>
          <a:bodyPr numCol="2" spcCol="180000">
            <a:noAutofit/>
          </a:bodyPr>
          <a:lstStyle>
            <a:lvl1pPr marL="0">
              <a:lnSpc>
                <a:spcPts val="1800"/>
              </a:lnSpc>
              <a:spcBef>
                <a:spcPts val="0"/>
              </a:spcBef>
              <a:buClr>
                <a:schemeClr val="accent1"/>
              </a:buClr>
              <a:buNone/>
              <a:defRPr sz="15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14" name="Plassholder for tittel 1">
            <a:extLst>
              <a:ext uri="{FF2B5EF4-FFF2-40B4-BE49-F238E27FC236}">
                <a16:creationId xmlns:a16="http://schemas.microsoft.com/office/drawing/2014/main" id="{8A370938-E40F-4F21-935F-E922CB8AC522}"/>
              </a:ext>
            </a:extLst>
          </p:cNvPr>
          <p:cNvSpPr>
            <a:spLocks noGrp="1"/>
          </p:cNvSpPr>
          <p:nvPr>
            <p:ph type="title" hasCustomPrompt="1"/>
          </p:nvPr>
        </p:nvSpPr>
        <p:spPr>
          <a:xfrm>
            <a:off x="1297434" y="642757"/>
            <a:ext cx="11955859" cy="692497"/>
          </a:xfrm>
          <a:prstGeom prst="rect">
            <a:avLst/>
          </a:prstGeom>
        </p:spPr>
        <p:txBody>
          <a:bodyPr vert="horz" lIns="0" tIns="0" rIns="0" bIns="0" rtlCol="0" anchor="t" anchorCtr="0">
            <a:noAutofit/>
          </a:bodyPr>
          <a:lstStyle>
            <a:lvl1pPr>
              <a:defRPr sz="4200">
                <a:solidFill>
                  <a:schemeClr val="tx1"/>
                </a:solidFill>
              </a:defRPr>
            </a:lvl1pPr>
          </a:lstStyle>
          <a:p>
            <a:r>
              <a:rPr lang="nb-NO"/>
              <a:t>Overskrift</a:t>
            </a:r>
          </a:p>
        </p:txBody>
      </p:sp>
      <p:sp>
        <p:nvSpPr>
          <p:cNvPr id="15" name="Plassholder for bilde 4">
            <a:extLst>
              <a:ext uri="{FF2B5EF4-FFF2-40B4-BE49-F238E27FC236}">
                <a16:creationId xmlns:a16="http://schemas.microsoft.com/office/drawing/2014/main" id="{90A89CA5-9E7F-406E-96A2-5E26B97C3BFC}"/>
              </a:ext>
            </a:extLst>
          </p:cNvPr>
          <p:cNvSpPr>
            <a:spLocks noGrp="1"/>
          </p:cNvSpPr>
          <p:nvPr>
            <p:ph type="pic" sz="quarter" idx="13" hasCustomPrompt="1"/>
          </p:nvPr>
        </p:nvSpPr>
        <p:spPr>
          <a:xfrm>
            <a:off x="13480865" y="642755"/>
            <a:ext cx="1098059" cy="1098059"/>
          </a:xfrm>
        </p:spPr>
        <p:txBody>
          <a:bodyPr anchor="ctr">
            <a:normAutofit/>
          </a:bodyPr>
          <a:lstStyle>
            <a:lvl1pPr algn="ctr">
              <a:buNone/>
              <a:defRPr sz="1800"/>
            </a:lvl1pPr>
          </a:lstStyle>
          <a:p>
            <a:r>
              <a:rPr lang="nb-NO"/>
              <a:t>Ikon</a:t>
            </a:r>
          </a:p>
        </p:txBody>
      </p:sp>
      <p:sp>
        <p:nvSpPr>
          <p:cNvPr id="9" name="TekstSylinder 11">
            <a:extLst>
              <a:ext uri="{FF2B5EF4-FFF2-40B4-BE49-F238E27FC236}">
                <a16:creationId xmlns:a16="http://schemas.microsoft.com/office/drawing/2014/main" id="{750F698A-1F02-FD42-81BF-602A408F5ED2}"/>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2002709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accent1"/>
                </a:solidFill>
              </a:defRPr>
            </a:lvl1pPr>
          </a:lstStyle>
          <a:p>
            <a:r>
              <a:rPr lang="nb-NO"/>
              <a:t>Klikk for å redigere tittelstil</a:t>
            </a:r>
            <a:endParaRPr lang="nb-NO" dirty="0"/>
          </a:p>
        </p:txBody>
      </p:sp>
      <p:sp>
        <p:nvSpPr>
          <p:cNvPr id="6" name="TextBox 6">
            <a:extLst>
              <a:ext uri="{FF2B5EF4-FFF2-40B4-BE49-F238E27FC236}">
                <a16:creationId xmlns:a16="http://schemas.microsoft.com/office/drawing/2014/main" id="{4BDA1AFF-68C0-4650-8E52-6263233596B5}"/>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7" name="Bilde 6">
            <a:extLst>
              <a:ext uri="{FF2B5EF4-FFF2-40B4-BE49-F238E27FC236}">
                <a16:creationId xmlns:a16="http://schemas.microsoft.com/office/drawing/2014/main" id="{F730FB02-9270-497B-BF5B-66B5BB7B62A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536553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Innhold med ikon - 2 spalter">
    <p:spTree>
      <p:nvGrpSpPr>
        <p:cNvPr id="1" name=""/>
        <p:cNvGrpSpPr/>
        <p:nvPr/>
      </p:nvGrpSpPr>
      <p:grpSpPr>
        <a:xfrm>
          <a:off x="0" y="0"/>
          <a:ext cx="0" cy="0"/>
          <a:chOff x="0" y="0"/>
          <a:chExt cx="0" cy="0"/>
        </a:xfrm>
      </p:grpSpPr>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14" name="Plassholder for tittel 1">
            <a:extLst>
              <a:ext uri="{FF2B5EF4-FFF2-40B4-BE49-F238E27FC236}">
                <a16:creationId xmlns:a16="http://schemas.microsoft.com/office/drawing/2014/main" id="{8A370938-E40F-4F21-935F-E922CB8AC522}"/>
              </a:ext>
            </a:extLst>
          </p:cNvPr>
          <p:cNvSpPr>
            <a:spLocks noGrp="1"/>
          </p:cNvSpPr>
          <p:nvPr>
            <p:ph type="title" hasCustomPrompt="1"/>
          </p:nvPr>
        </p:nvSpPr>
        <p:spPr>
          <a:xfrm>
            <a:off x="1297434" y="642757"/>
            <a:ext cx="11955859" cy="692497"/>
          </a:xfrm>
          <a:prstGeom prst="rect">
            <a:avLst/>
          </a:prstGeom>
        </p:spPr>
        <p:txBody>
          <a:bodyPr vert="horz" lIns="0" tIns="0" rIns="0" bIns="0" rtlCol="0" anchor="t" anchorCtr="0">
            <a:noAutofit/>
          </a:bodyPr>
          <a:lstStyle>
            <a:lvl1pPr>
              <a:defRPr sz="4200">
                <a:solidFill>
                  <a:schemeClr val="tx1"/>
                </a:solidFill>
              </a:defRPr>
            </a:lvl1pPr>
          </a:lstStyle>
          <a:p>
            <a:r>
              <a:rPr lang="nb-NO"/>
              <a:t>Overskrift</a:t>
            </a:r>
          </a:p>
        </p:txBody>
      </p:sp>
      <p:sp>
        <p:nvSpPr>
          <p:cNvPr id="6" name="TekstSylinder 11">
            <a:extLst>
              <a:ext uri="{FF2B5EF4-FFF2-40B4-BE49-F238E27FC236}">
                <a16:creationId xmlns:a16="http://schemas.microsoft.com/office/drawing/2014/main" id="{A3D4F4BA-5B00-4249-97DF-C02450D29899}"/>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16918383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Innhold med ikon - 3 spalter">
    <p:spTree>
      <p:nvGrpSpPr>
        <p:cNvPr id="1" name=""/>
        <p:cNvGrpSpPr/>
        <p:nvPr/>
      </p:nvGrpSpPr>
      <p:grpSpPr>
        <a:xfrm>
          <a:off x="0" y="0"/>
          <a:ext cx="0" cy="0"/>
          <a:chOff x="0" y="0"/>
          <a:chExt cx="0" cy="0"/>
        </a:xfrm>
      </p:grpSpPr>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9" name="Plassholder for tekst 7">
            <a:extLst>
              <a:ext uri="{FF2B5EF4-FFF2-40B4-BE49-F238E27FC236}">
                <a16:creationId xmlns:a16="http://schemas.microsoft.com/office/drawing/2014/main" id="{603B1BBA-9E3E-4D69-B70E-10991988B426}"/>
              </a:ext>
            </a:extLst>
          </p:cNvPr>
          <p:cNvSpPr>
            <a:spLocks noGrp="1"/>
          </p:cNvSpPr>
          <p:nvPr>
            <p:ph type="body" sz="quarter" idx="10" hasCustomPrompt="1"/>
          </p:nvPr>
        </p:nvSpPr>
        <p:spPr>
          <a:xfrm>
            <a:off x="1297432" y="2190144"/>
            <a:ext cx="13281490" cy="5150456"/>
          </a:xfrm>
        </p:spPr>
        <p:txBody>
          <a:bodyPr numCol="3" spcCol="180000">
            <a:noAutofit/>
          </a:bodyPr>
          <a:lstStyle>
            <a:lvl1pPr marL="0" indent="0">
              <a:lnSpc>
                <a:spcPts val="1800"/>
              </a:lnSpc>
              <a:spcBef>
                <a:spcPts val="0"/>
              </a:spcBef>
              <a:buClr>
                <a:schemeClr val="accent1"/>
              </a:buClr>
              <a:buNone/>
              <a:defRPr sz="15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29" name="Plassholder for tittel 1">
            <a:extLst>
              <a:ext uri="{FF2B5EF4-FFF2-40B4-BE49-F238E27FC236}">
                <a16:creationId xmlns:a16="http://schemas.microsoft.com/office/drawing/2014/main" id="{A0878D56-0132-45A1-A300-E6273A8DB55C}"/>
              </a:ext>
            </a:extLst>
          </p:cNvPr>
          <p:cNvSpPr>
            <a:spLocks noGrp="1"/>
          </p:cNvSpPr>
          <p:nvPr>
            <p:ph type="title" hasCustomPrompt="1"/>
          </p:nvPr>
        </p:nvSpPr>
        <p:spPr>
          <a:xfrm>
            <a:off x="1297434" y="642757"/>
            <a:ext cx="11955859" cy="692497"/>
          </a:xfrm>
          <a:prstGeom prst="rect">
            <a:avLst/>
          </a:prstGeom>
        </p:spPr>
        <p:txBody>
          <a:bodyPr vert="horz" lIns="0" tIns="0" rIns="0" bIns="0" rtlCol="0" anchor="t" anchorCtr="0">
            <a:noAutofit/>
          </a:bodyPr>
          <a:lstStyle>
            <a:lvl1pPr>
              <a:defRPr sz="4200">
                <a:solidFill>
                  <a:schemeClr val="tx1"/>
                </a:solidFill>
              </a:defRPr>
            </a:lvl1pPr>
          </a:lstStyle>
          <a:p>
            <a:r>
              <a:rPr lang="nb-NO"/>
              <a:t>Overskrift</a:t>
            </a:r>
          </a:p>
        </p:txBody>
      </p:sp>
      <p:sp>
        <p:nvSpPr>
          <p:cNvPr id="30" name="Plassholder for bilde 4">
            <a:extLst>
              <a:ext uri="{FF2B5EF4-FFF2-40B4-BE49-F238E27FC236}">
                <a16:creationId xmlns:a16="http://schemas.microsoft.com/office/drawing/2014/main" id="{4BDB5042-4042-4C49-B1B0-65D3C2B9C6DA}"/>
              </a:ext>
            </a:extLst>
          </p:cNvPr>
          <p:cNvSpPr>
            <a:spLocks noGrp="1"/>
          </p:cNvSpPr>
          <p:nvPr>
            <p:ph type="pic" sz="quarter" idx="13" hasCustomPrompt="1"/>
          </p:nvPr>
        </p:nvSpPr>
        <p:spPr>
          <a:xfrm>
            <a:off x="13480865" y="642755"/>
            <a:ext cx="1098059" cy="1098059"/>
          </a:xfrm>
        </p:spPr>
        <p:txBody>
          <a:bodyPr anchor="ctr">
            <a:normAutofit/>
          </a:bodyPr>
          <a:lstStyle>
            <a:lvl1pPr algn="ctr">
              <a:buNone/>
              <a:defRPr sz="1800"/>
            </a:lvl1pPr>
          </a:lstStyle>
          <a:p>
            <a:r>
              <a:rPr lang="nb-NO"/>
              <a:t>Ikon</a:t>
            </a:r>
          </a:p>
        </p:txBody>
      </p:sp>
      <p:sp>
        <p:nvSpPr>
          <p:cNvPr id="8" name="TekstSylinder 11">
            <a:extLst>
              <a:ext uri="{FF2B5EF4-FFF2-40B4-BE49-F238E27FC236}">
                <a16:creationId xmlns:a16="http://schemas.microsoft.com/office/drawing/2014/main" id="{137C1C98-958A-7542-BE48-2CCD77714569}"/>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25482772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Innhold med ikon - 4 spalter">
    <p:spTree>
      <p:nvGrpSpPr>
        <p:cNvPr id="1" name=""/>
        <p:cNvGrpSpPr/>
        <p:nvPr/>
      </p:nvGrpSpPr>
      <p:grpSpPr>
        <a:xfrm>
          <a:off x="0" y="0"/>
          <a:ext cx="0" cy="0"/>
          <a:chOff x="0" y="0"/>
          <a:chExt cx="0" cy="0"/>
        </a:xfrm>
      </p:grpSpPr>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9" name="Plassholder for tekst 7">
            <a:extLst>
              <a:ext uri="{FF2B5EF4-FFF2-40B4-BE49-F238E27FC236}">
                <a16:creationId xmlns:a16="http://schemas.microsoft.com/office/drawing/2014/main" id="{603B1BBA-9E3E-4D69-B70E-10991988B426}"/>
              </a:ext>
            </a:extLst>
          </p:cNvPr>
          <p:cNvSpPr>
            <a:spLocks noGrp="1"/>
          </p:cNvSpPr>
          <p:nvPr>
            <p:ph type="body" sz="quarter" idx="10" hasCustomPrompt="1"/>
          </p:nvPr>
        </p:nvSpPr>
        <p:spPr>
          <a:xfrm>
            <a:off x="1297432" y="2190144"/>
            <a:ext cx="13281490" cy="5150456"/>
          </a:xfrm>
        </p:spPr>
        <p:txBody>
          <a:bodyPr numCol="4" spcCol="180000">
            <a:noAutofit/>
          </a:bodyPr>
          <a:lstStyle>
            <a:lvl1pPr marL="0" indent="0">
              <a:lnSpc>
                <a:spcPts val="1800"/>
              </a:lnSpc>
              <a:spcBef>
                <a:spcPts val="0"/>
              </a:spcBef>
              <a:buClr>
                <a:schemeClr val="accent1"/>
              </a:buClr>
              <a:buNone/>
              <a:defRPr sz="15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29" name="Plassholder for tittel 1">
            <a:extLst>
              <a:ext uri="{FF2B5EF4-FFF2-40B4-BE49-F238E27FC236}">
                <a16:creationId xmlns:a16="http://schemas.microsoft.com/office/drawing/2014/main" id="{A0878D56-0132-45A1-A300-E6273A8DB55C}"/>
              </a:ext>
            </a:extLst>
          </p:cNvPr>
          <p:cNvSpPr>
            <a:spLocks noGrp="1"/>
          </p:cNvSpPr>
          <p:nvPr>
            <p:ph type="title" hasCustomPrompt="1"/>
          </p:nvPr>
        </p:nvSpPr>
        <p:spPr>
          <a:xfrm>
            <a:off x="1297434" y="642757"/>
            <a:ext cx="11955859" cy="692497"/>
          </a:xfrm>
          <a:prstGeom prst="rect">
            <a:avLst/>
          </a:prstGeom>
        </p:spPr>
        <p:txBody>
          <a:bodyPr vert="horz" lIns="0" tIns="0" rIns="0" bIns="0" rtlCol="0" anchor="t" anchorCtr="0">
            <a:noAutofit/>
          </a:bodyPr>
          <a:lstStyle>
            <a:lvl1pPr>
              <a:defRPr sz="4200">
                <a:solidFill>
                  <a:schemeClr val="tx1"/>
                </a:solidFill>
              </a:defRPr>
            </a:lvl1pPr>
          </a:lstStyle>
          <a:p>
            <a:r>
              <a:rPr lang="nb-NO"/>
              <a:t>Overskrift</a:t>
            </a:r>
          </a:p>
        </p:txBody>
      </p:sp>
      <p:sp>
        <p:nvSpPr>
          <p:cNvPr id="30" name="Plassholder for bilde 4">
            <a:extLst>
              <a:ext uri="{FF2B5EF4-FFF2-40B4-BE49-F238E27FC236}">
                <a16:creationId xmlns:a16="http://schemas.microsoft.com/office/drawing/2014/main" id="{4BDB5042-4042-4C49-B1B0-65D3C2B9C6DA}"/>
              </a:ext>
            </a:extLst>
          </p:cNvPr>
          <p:cNvSpPr>
            <a:spLocks noGrp="1"/>
          </p:cNvSpPr>
          <p:nvPr>
            <p:ph type="pic" sz="quarter" idx="13" hasCustomPrompt="1"/>
          </p:nvPr>
        </p:nvSpPr>
        <p:spPr>
          <a:xfrm>
            <a:off x="13480865" y="642755"/>
            <a:ext cx="1098059" cy="1098059"/>
          </a:xfrm>
        </p:spPr>
        <p:txBody>
          <a:bodyPr anchor="ctr">
            <a:normAutofit/>
          </a:bodyPr>
          <a:lstStyle>
            <a:lvl1pPr algn="ctr">
              <a:buNone/>
              <a:defRPr sz="1800"/>
            </a:lvl1pPr>
          </a:lstStyle>
          <a:p>
            <a:r>
              <a:rPr lang="nb-NO"/>
              <a:t>Ikon</a:t>
            </a:r>
          </a:p>
        </p:txBody>
      </p:sp>
      <p:sp>
        <p:nvSpPr>
          <p:cNvPr id="8" name="TekstSylinder 11">
            <a:extLst>
              <a:ext uri="{FF2B5EF4-FFF2-40B4-BE49-F238E27FC236}">
                <a16:creationId xmlns:a16="http://schemas.microsoft.com/office/drawing/2014/main" id="{DC1455F6-CDF8-B144-B89F-68A35F52ADB9}"/>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994930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kille 1 - Blåsvar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6989FD1-11A5-435D-A547-2E51A2757DFB}"/>
              </a:ext>
            </a:extLst>
          </p:cNvPr>
          <p:cNvSpPr/>
          <p:nvPr userDrawn="1"/>
        </p:nvSpPr>
        <p:spPr>
          <a:xfrm>
            <a:off x="0" y="0"/>
            <a:ext cx="16254413" cy="9144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9" name="Plassholder for bilde 3">
            <a:extLst>
              <a:ext uri="{FF2B5EF4-FFF2-40B4-BE49-F238E27FC236}">
                <a16:creationId xmlns:a16="http://schemas.microsoft.com/office/drawing/2014/main" id="{4591EB06-21C0-44D5-9F94-EFB5B107CF54}"/>
              </a:ext>
            </a:extLst>
          </p:cNvPr>
          <p:cNvSpPr>
            <a:spLocks noGrp="1"/>
          </p:cNvSpPr>
          <p:nvPr>
            <p:ph type="pic" sz="quarter" idx="12" hasCustomPrompt="1"/>
          </p:nvPr>
        </p:nvSpPr>
        <p:spPr>
          <a:xfrm>
            <a:off x="0" y="5049"/>
            <a:ext cx="16254413" cy="9144000"/>
          </a:xfrm>
          <a:solidFill>
            <a:schemeClr val="accent1"/>
          </a:solidFill>
        </p:spPr>
        <p:txBody>
          <a:bodyPr anchor="ctr"/>
          <a:lstStyle>
            <a:lvl1pPr algn="ctr">
              <a:buNone/>
              <a:defRPr>
                <a:solidFill>
                  <a:schemeClr val="bg1"/>
                </a:solidFill>
              </a:defRPr>
            </a:lvl1pPr>
          </a:lstStyle>
          <a:p>
            <a:r>
              <a:rPr lang="nb-NO"/>
              <a:t>Illustrasjon - skille</a:t>
            </a:r>
          </a:p>
        </p:txBody>
      </p:sp>
      <p:sp>
        <p:nvSpPr>
          <p:cNvPr id="11" name="Plassholder for tekst 9">
            <a:extLst>
              <a:ext uri="{FF2B5EF4-FFF2-40B4-BE49-F238E27FC236}">
                <a16:creationId xmlns:a16="http://schemas.microsoft.com/office/drawing/2014/main" id="{C31C2007-17C4-49A5-83D4-59BD760FB07A}"/>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bg1"/>
                </a:solidFill>
              </a:defRPr>
            </a:lvl1pPr>
          </a:lstStyle>
          <a:p>
            <a:pPr lvl="0"/>
            <a:r>
              <a:rPr lang="nb-NO" err="1"/>
              <a:t>X</a:t>
            </a:r>
            <a:r>
              <a:rPr lang="nb-NO"/>
              <a:t> – Seksjon/kapittel</a:t>
            </a:r>
          </a:p>
        </p:txBody>
      </p:sp>
      <p:sp>
        <p:nvSpPr>
          <p:cNvPr id="8" name="TekstSylinder 11">
            <a:extLst>
              <a:ext uri="{FF2B5EF4-FFF2-40B4-BE49-F238E27FC236}">
                <a16:creationId xmlns:a16="http://schemas.microsoft.com/office/drawing/2014/main" id="{EFAFE2B4-1446-7A42-B6D0-56E4A0CC3B75}"/>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solidFill>
                  <a:schemeClr val="bg1"/>
                </a:solidFill>
              </a:rPr>
              <a:t>Erfaringsrapport 2020 | Handlingsplanen for regjeringens digitaliseringsstrategi | </a:t>
            </a:r>
          </a:p>
        </p:txBody>
      </p:sp>
    </p:spTree>
    <p:extLst>
      <p:ext uri="{BB962C8B-B14F-4D97-AF65-F5344CB8AC3E}">
        <p14:creationId xmlns:p14="http://schemas.microsoft.com/office/powerpoint/2010/main" val="200926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kille 2 -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6989FD1-11A5-435D-A547-2E51A2757DFB}"/>
              </a:ext>
            </a:extLst>
          </p:cNvPr>
          <p:cNvSpPr/>
          <p:nvPr userDrawn="1"/>
        </p:nvSpPr>
        <p:spPr>
          <a:xfrm>
            <a:off x="0" y="0"/>
            <a:ext cx="16254413" cy="9144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9" name="Plassholder for bilde 3">
            <a:extLst>
              <a:ext uri="{FF2B5EF4-FFF2-40B4-BE49-F238E27FC236}">
                <a16:creationId xmlns:a16="http://schemas.microsoft.com/office/drawing/2014/main" id="{4591EB06-21C0-44D5-9F94-EFB5B107CF54}"/>
              </a:ext>
            </a:extLst>
          </p:cNvPr>
          <p:cNvSpPr>
            <a:spLocks noGrp="1"/>
          </p:cNvSpPr>
          <p:nvPr>
            <p:ph type="pic" sz="quarter" idx="12" hasCustomPrompt="1"/>
          </p:nvPr>
        </p:nvSpPr>
        <p:spPr>
          <a:xfrm>
            <a:off x="0" y="5049"/>
            <a:ext cx="16254413" cy="9144000"/>
          </a:xfrm>
          <a:solidFill>
            <a:schemeClr val="accent2"/>
          </a:solidFill>
        </p:spPr>
        <p:txBody>
          <a:bodyPr anchor="ctr"/>
          <a:lstStyle>
            <a:lvl1pPr algn="ctr">
              <a:buNone/>
              <a:defRPr>
                <a:solidFill>
                  <a:schemeClr val="tx2"/>
                </a:solidFill>
              </a:defRPr>
            </a:lvl1pPr>
          </a:lstStyle>
          <a:p>
            <a:r>
              <a:rPr lang="nb-NO"/>
              <a:t>Illustrasjon - skille</a:t>
            </a:r>
          </a:p>
        </p:txBody>
      </p:sp>
      <p:sp>
        <p:nvSpPr>
          <p:cNvPr id="11" name="Plassholder for tekst 9">
            <a:extLst>
              <a:ext uri="{FF2B5EF4-FFF2-40B4-BE49-F238E27FC236}">
                <a16:creationId xmlns:a16="http://schemas.microsoft.com/office/drawing/2014/main" id="{C31C2007-17C4-49A5-83D4-59BD760FB07A}"/>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6" name="TekstSylinder 11">
            <a:extLst>
              <a:ext uri="{FF2B5EF4-FFF2-40B4-BE49-F238E27FC236}">
                <a16:creationId xmlns:a16="http://schemas.microsoft.com/office/drawing/2014/main" id="{C9A7A2DF-1704-6145-9ABD-CE6EDB887E3F}"/>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23667588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kille 3 -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6989FD1-11A5-435D-A547-2E51A2757DFB}"/>
              </a:ext>
            </a:extLst>
          </p:cNvPr>
          <p:cNvSpPr/>
          <p:nvPr userDrawn="1"/>
        </p:nvSpPr>
        <p:spPr>
          <a:xfrm>
            <a:off x="0" y="0"/>
            <a:ext cx="16254413" cy="9144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9" name="Plassholder for bilde 3">
            <a:extLst>
              <a:ext uri="{FF2B5EF4-FFF2-40B4-BE49-F238E27FC236}">
                <a16:creationId xmlns:a16="http://schemas.microsoft.com/office/drawing/2014/main" id="{4591EB06-21C0-44D5-9F94-EFB5B107CF54}"/>
              </a:ext>
            </a:extLst>
          </p:cNvPr>
          <p:cNvSpPr>
            <a:spLocks noGrp="1"/>
          </p:cNvSpPr>
          <p:nvPr>
            <p:ph type="pic" sz="quarter" idx="12" hasCustomPrompt="1"/>
          </p:nvPr>
        </p:nvSpPr>
        <p:spPr>
          <a:xfrm>
            <a:off x="0" y="5049"/>
            <a:ext cx="16254413" cy="9144000"/>
          </a:xfrm>
          <a:solidFill>
            <a:schemeClr val="accent4"/>
          </a:solidFill>
        </p:spPr>
        <p:txBody>
          <a:bodyPr anchor="ctr"/>
          <a:lstStyle>
            <a:lvl1pPr algn="ctr">
              <a:buNone/>
              <a:defRPr>
                <a:solidFill>
                  <a:schemeClr val="tx2"/>
                </a:solidFill>
              </a:defRPr>
            </a:lvl1pPr>
          </a:lstStyle>
          <a:p>
            <a:r>
              <a:rPr lang="nb-NO"/>
              <a:t>Illustrasjon - skille</a:t>
            </a:r>
          </a:p>
        </p:txBody>
      </p:sp>
      <p:sp>
        <p:nvSpPr>
          <p:cNvPr id="11" name="Plassholder for tekst 9">
            <a:extLst>
              <a:ext uri="{FF2B5EF4-FFF2-40B4-BE49-F238E27FC236}">
                <a16:creationId xmlns:a16="http://schemas.microsoft.com/office/drawing/2014/main" id="{C31C2007-17C4-49A5-83D4-59BD760FB07A}"/>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6" name="TekstSylinder 11">
            <a:extLst>
              <a:ext uri="{FF2B5EF4-FFF2-40B4-BE49-F238E27FC236}">
                <a16:creationId xmlns:a16="http://schemas.microsoft.com/office/drawing/2014/main" id="{5EE18D53-0824-6B41-A0B4-F305ADF88717}"/>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1148961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kille 4 - 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6254413" cy="9144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4" name="Plassholder for bilde 3">
            <a:extLst>
              <a:ext uri="{FF2B5EF4-FFF2-40B4-BE49-F238E27FC236}">
                <a16:creationId xmlns:a16="http://schemas.microsoft.com/office/drawing/2014/main" id="{371E985B-723F-45EC-8629-E1FACE9A1DC9}"/>
              </a:ext>
            </a:extLst>
          </p:cNvPr>
          <p:cNvSpPr>
            <a:spLocks noGrp="1"/>
          </p:cNvSpPr>
          <p:nvPr>
            <p:ph type="pic" sz="quarter" idx="12" hasCustomPrompt="1"/>
          </p:nvPr>
        </p:nvSpPr>
        <p:spPr>
          <a:xfrm>
            <a:off x="0" y="5049"/>
            <a:ext cx="16254413" cy="9144000"/>
          </a:xfrm>
        </p:spPr>
        <p:txBody>
          <a:bodyPr anchor="ctr"/>
          <a:lstStyle>
            <a:lvl1pPr algn="ctr">
              <a:buNone/>
              <a:defRPr>
                <a:solidFill>
                  <a:schemeClr val="tx2"/>
                </a:solidFill>
              </a:defRPr>
            </a:lvl1pPr>
          </a:lstStyle>
          <a:p>
            <a:r>
              <a:rPr lang="nb-NO"/>
              <a:t>Illustrasjon - skille</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6" name="TekstSylinder 11">
            <a:extLst>
              <a:ext uri="{FF2B5EF4-FFF2-40B4-BE49-F238E27FC236}">
                <a16:creationId xmlns:a16="http://schemas.microsoft.com/office/drawing/2014/main" id="{3CC4A372-65B8-E14C-AFA5-DC4DB8BBA480}"/>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1708935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Intro - Innsatsområde">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2ABFEC3F-5590-2A44-ADCE-3A86097E7ED5}"/>
              </a:ext>
            </a:extLst>
          </p:cNvPr>
          <p:cNvSpPr/>
          <p:nvPr userDrawn="1"/>
        </p:nvSpPr>
        <p:spPr>
          <a:xfrm>
            <a:off x="0" y="0"/>
            <a:ext cx="16254413" cy="9144000"/>
          </a:xfrm>
          <a:prstGeom prst="rect">
            <a:avLst/>
          </a:prstGeom>
          <a:solidFill>
            <a:srgbClr val="DAE9F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9" name="Plassholder for tekst 7">
            <a:extLst>
              <a:ext uri="{FF2B5EF4-FFF2-40B4-BE49-F238E27FC236}">
                <a16:creationId xmlns:a16="http://schemas.microsoft.com/office/drawing/2014/main" id="{603B1BBA-9E3E-4D69-B70E-10991988B426}"/>
              </a:ext>
            </a:extLst>
          </p:cNvPr>
          <p:cNvSpPr>
            <a:spLocks noGrp="1"/>
          </p:cNvSpPr>
          <p:nvPr>
            <p:ph type="body" sz="quarter" idx="10" hasCustomPrompt="1"/>
          </p:nvPr>
        </p:nvSpPr>
        <p:spPr>
          <a:xfrm>
            <a:off x="5960533" y="2190144"/>
            <a:ext cx="8618389" cy="5150456"/>
          </a:xfrm>
        </p:spPr>
        <p:txBody>
          <a:bodyPr numCol="2" spcCol="180000">
            <a:noAutofit/>
          </a:bodyPr>
          <a:lstStyle>
            <a:lvl1pPr marL="0" indent="0">
              <a:lnSpc>
                <a:spcPts val="1800"/>
              </a:lnSpc>
              <a:spcBef>
                <a:spcPts val="0"/>
              </a:spcBef>
              <a:buClr>
                <a:schemeClr val="accent1"/>
              </a:buClr>
              <a:buNone/>
              <a:defRPr sz="15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 name="Plassholder for bilde 2">
            <a:extLst>
              <a:ext uri="{FF2B5EF4-FFF2-40B4-BE49-F238E27FC236}">
                <a16:creationId xmlns:a16="http://schemas.microsoft.com/office/drawing/2014/main" id="{D5EAB9F9-C767-C94B-A740-53958F3E3C4F}"/>
              </a:ext>
            </a:extLst>
          </p:cNvPr>
          <p:cNvSpPr>
            <a:spLocks noGrp="1"/>
          </p:cNvSpPr>
          <p:nvPr>
            <p:ph type="pic" sz="quarter" idx="14" hasCustomPrompt="1"/>
          </p:nvPr>
        </p:nvSpPr>
        <p:spPr>
          <a:xfrm>
            <a:off x="1297432" y="2190144"/>
            <a:ext cx="4409631" cy="5150456"/>
          </a:xfrm>
        </p:spPr>
        <p:txBody>
          <a:bodyPr anchor="ctr"/>
          <a:lstStyle>
            <a:lvl1pPr algn="ctr">
              <a:buNone/>
              <a:defRPr sz="2400"/>
            </a:lvl1pPr>
          </a:lstStyle>
          <a:p>
            <a:r>
              <a:rPr lang="nb-NO"/>
              <a:t>Ikon eller illustrasjon</a:t>
            </a:r>
          </a:p>
        </p:txBody>
      </p:sp>
      <p:sp>
        <p:nvSpPr>
          <p:cNvPr id="11" name="Plassholder for tittel 1">
            <a:extLst>
              <a:ext uri="{FF2B5EF4-FFF2-40B4-BE49-F238E27FC236}">
                <a16:creationId xmlns:a16="http://schemas.microsoft.com/office/drawing/2014/main" id="{11FD44CE-2136-6B40-9D64-CE7216E4D7E6}"/>
              </a:ext>
            </a:extLst>
          </p:cNvPr>
          <p:cNvSpPr>
            <a:spLocks noGrp="1"/>
          </p:cNvSpPr>
          <p:nvPr>
            <p:ph type="title" hasCustomPrompt="1"/>
          </p:nvPr>
        </p:nvSpPr>
        <p:spPr>
          <a:xfrm>
            <a:off x="1297434" y="642757"/>
            <a:ext cx="13281489" cy="692497"/>
          </a:xfrm>
          <a:prstGeom prst="rect">
            <a:avLst/>
          </a:prstGeom>
        </p:spPr>
        <p:txBody>
          <a:bodyPr vert="horz" lIns="0" tIns="0" rIns="0" bIns="0" rtlCol="0" anchor="t" anchorCtr="0">
            <a:noAutofit/>
          </a:bodyPr>
          <a:lstStyle>
            <a:lvl1pPr>
              <a:defRPr sz="4200">
                <a:solidFill>
                  <a:schemeClr val="accent1"/>
                </a:solidFill>
              </a:defRPr>
            </a:lvl1pPr>
          </a:lstStyle>
          <a:p>
            <a:r>
              <a:rPr lang="nb-NO"/>
              <a:t>Overskrift</a:t>
            </a:r>
          </a:p>
        </p:txBody>
      </p:sp>
      <p:sp>
        <p:nvSpPr>
          <p:cNvPr id="12" name="TekstSylinder 11">
            <a:extLst>
              <a:ext uri="{FF2B5EF4-FFF2-40B4-BE49-F238E27FC236}">
                <a16:creationId xmlns:a16="http://schemas.microsoft.com/office/drawing/2014/main" id="{9FBF67A5-786A-A549-9188-0E07E64E6821}"/>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30789525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Innsatsområde - Sitat">
    <p:spTree>
      <p:nvGrpSpPr>
        <p:cNvPr id="1" name=""/>
        <p:cNvGrpSpPr/>
        <p:nvPr/>
      </p:nvGrpSpPr>
      <p:grpSpPr>
        <a:xfrm>
          <a:off x="0" y="0"/>
          <a:ext cx="0" cy="0"/>
          <a:chOff x="0" y="0"/>
          <a:chExt cx="0" cy="0"/>
        </a:xfrm>
      </p:grpSpPr>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9" name="Plassholder for tekst 7">
            <a:extLst>
              <a:ext uri="{FF2B5EF4-FFF2-40B4-BE49-F238E27FC236}">
                <a16:creationId xmlns:a16="http://schemas.microsoft.com/office/drawing/2014/main" id="{603B1BBA-9E3E-4D69-B70E-10991988B426}"/>
              </a:ext>
            </a:extLst>
          </p:cNvPr>
          <p:cNvSpPr>
            <a:spLocks noGrp="1"/>
          </p:cNvSpPr>
          <p:nvPr>
            <p:ph type="body" sz="quarter" idx="10" hasCustomPrompt="1"/>
          </p:nvPr>
        </p:nvSpPr>
        <p:spPr>
          <a:xfrm>
            <a:off x="1297433" y="2190144"/>
            <a:ext cx="8408335" cy="5150456"/>
          </a:xfrm>
        </p:spPr>
        <p:txBody>
          <a:bodyPr numCol="2" spcCol="180000">
            <a:noAutofit/>
          </a:bodyPr>
          <a:lstStyle>
            <a:lvl1pPr marL="0" indent="0">
              <a:lnSpc>
                <a:spcPts val="1800"/>
              </a:lnSpc>
              <a:spcBef>
                <a:spcPts val="0"/>
              </a:spcBef>
              <a:buClr>
                <a:schemeClr val="accent1"/>
              </a:buClr>
              <a:buNone/>
              <a:defRPr sz="15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1" name="Plassholder for tittel 1">
            <a:extLst>
              <a:ext uri="{FF2B5EF4-FFF2-40B4-BE49-F238E27FC236}">
                <a16:creationId xmlns:a16="http://schemas.microsoft.com/office/drawing/2014/main" id="{11FD44CE-2136-6B40-9D64-CE7216E4D7E6}"/>
              </a:ext>
            </a:extLst>
          </p:cNvPr>
          <p:cNvSpPr>
            <a:spLocks noGrp="1"/>
          </p:cNvSpPr>
          <p:nvPr>
            <p:ph type="title" hasCustomPrompt="1"/>
          </p:nvPr>
        </p:nvSpPr>
        <p:spPr>
          <a:xfrm>
            <a:off x="1297434" y="642757"/>
            <a:ext cx="13281489" cy="692497"/>
          </a:xfrm>
          <a:prstGeom prst="rect">
            <a:avLst/>
          </a:prstGeom>
        </p:spPr>
        <p:txBody>
          <a:bodyPr vert="horz" lIns="0" tIns="0" rIns="0" bIns="0" rtlCol="0" anchor="t" anchorCtr="0">
            <a:noAutofit/>
          </a:bodyPr>
          <a:lstStyle>
            <a:lvl1pPr>
              <a:defRPr sz="4200">
                <a:solidFill>
                  <a:schemeClr val="accent1"/>
                </a:solidFill>
              </a:defRPr>
            </a:lvl1pPr>
          </a:lstStyle>
          <a:p>
            <a:r>
              <a:rPr lang="nb-NO"/>
              <a:t>Overskrift</a:t>
            </a:r>
          </a:p>
        </p:txBody>
      </p:sp>
      <p:sp>
        <p:nvSpPr>
          <p:cNvPr id="2" name="TekstSylinder 1">
            <a:extLst>
              <a:ext uri="{FF2B5EF4-FFF2-40B4-BE49-F238E27FC236}">
                <a16:creationId xmlns:a16="http://schemas.microsoft.com/office/drawing/2014/main" id="{939D0775-7E49-5544-8383-54C9E4A9D780}"/>
              </a:ext>
            </a:extLst>
          </p:cNvPr>
          <p:cNvSpPr txBox="1"/>
          <p:nvPr userDrawn="1"/>
        </p:nvSpPr>
        <p:spPr>
          <a:xfrm>
            <a:off x="9705767" y="1875366"/>
            <a:ext cx="812801" cy="1446422"/>
          </a:xfrm>
          <a:prstGeom prst="rect">
            <a:avLst/>
          </a:prstGeom>
          <a:noFill/>
        </p:spPr>
        <p:txBody>
          <a:bodyPr wrap="square" rtlCol="0">
            <a:spAutoFit/>
          </a:bodyPr>
          <a:lstStyle/>
          <a:p>
            <a:r>
              <a:rPr lang="nb-NO" sz="8799">
                <a:solidFill>
                  <a:schemeClr val="accent6"/>
                </a:solidFill>
              </a:rPr>
              <a:t>“</a:t>
            </a:r>
          </a:p>
        </p:txBody>
      </p:sp>
      <p:sp>
        <p:nvSpPr>
          <p:cNvPr id="12" name="Plassholder for tekst 7">
            <a:extLst>
              <a:ext uri="{FF2B5EF4-FFF2-40B4-BE49-F238E27FC236}">
                <a16:creationId xmlns:a16="http://schemas.microsoft.com/office/drawing/2014/main" id="{9FFBA678-1AD8-F74D-BD64-0FDE6A65C55A}"/>
              </a:ext>
            </a:extLst>
          </p:cNvPr>
          <p:cNvSpPr>
            <a:spLocks noGrp="1"/>
          </p:cNvSpPr>
          <p:nvPr>
            <p:ph type="body" sz="quarter" idx="12" hasCustomPrompt="1"/>
          </p:nvPr>
        </p:nvSpPr>
        <p:spPr>
          <a:xfrm>
            <a:off x="10247086" y="2190145"/>
            <a:ext cx="4709895" cy="4758345"/>
          </a:xfrm>
        </p:spPr>
        <p:txBody>
          <a:bodyPr numCol="1" spcCol="180000" anchor="t">
            <a:noAutofit/>
          </a:bodyPr>
          <a:lstStyle>
            <a:lvl1pPr marL="0" indent="0">
              <a:lnSpc>
                <a:spcPct val="100000"/>
              </a:lnSpc>
              <a:spcBef>
                <a:spcPts val="0"/>
              </a:spcBef>
              <a:buClr>
                <a:schemeClr val="accent1"/>
              </a:buClr>
              <a:buNone/>
              <a:defRPr sz="2000" b="0">
                <a:solidFill>
                  <a:schemeClr val="accent6"/>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Sitat</a:t>
            </a:r>
          </a:p>
        </p:txBody>
      </p:sp>
      <p:sp>
        <p:nvSpPr>
          <p:cNvPr id="13" name="TekstSylinder 11">
            <a:extLst>
              <a:ext uri="{FF2B5EF4-FFF2-40B4-BE49-F238E27FC236}">
                <a16:creationId xmlns:a16="http://schemas.microsoft.com/office/drawing/2014/main" id="{30C5DE8C-0BA9-BE4D-8816-9B5CF21623A3}"/>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3911643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Rapporterin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6254413" cy="9144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296979" y="2419923"/>
            <a:ext cx="3379797" cy="169879"/>
          </a:xfrm>
        </p:spPr>
        <p:txBody>
          <a:bodyPr/>
          <a:lstStyle>
            <a:lvl1pPr>
              <a:spcBef>
                <a:spcPts val="0"/>
              </a:spcBef>
              <a:buClr>
                <a:schemeClr val="accent1"/>
              </a:buClr>
              <a:buNone/>
              <a:defRPr sz="12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4" name="Plassholder for tekst 3">
            <a:extLst>
              <a:ext uri="{FF2B5EF4-FFF2-40B4-BE49-F238E27FC236}">
                <a16:creationId xmlns:a16="http://schemas.microsoft.com/office/drawing/2014/main" id="{982D64E3-CA29-4B6D-98FC-FE53B89A493D}"/>
              </a:ext>
            </a:extLst>
          </p:cNvPr>
          <p:cNvSpPr>
            <a:spLocks noGrp="1"/>
          </p:cNvSpPr>
          <p:nvPr>
            <p:ph type="body" sz="quarter" idx="12" hasCustomPrompt="1"/>
          </p:nvPr>
        </p:nvSpPr>
        <p:spPr>
          <a:xfrm>
            <a:off x="5449245" y="2233588"/>
            <a:ext cx="9129677" cy="5101880"/>
          </a:xfrm>
        </p:spPr>
        <p:txBody>
          <a:bodyPr numCol="3" spcCol="180000"/>
          <a:lstStyle>
            <a:lvl1pPr marL="0">
              <a:spcBef>
                <a:spcPts val="0"/>
              </a:spcBef>
              <a:buFont typeface="Arial" panose="020B0604020202020204" pitchFamily="34" charset="0"/>
              <a:buNone/>
              <a:defRPr sz="1400"/>
            </a:lvl1pPr>
            <a:lvl2pPr>
              <a:buNone/>
              <a:defRPr/>
            </a:lvl2pPr>
            <a:lvl3pPr>
              <a:buNone/>
              <a:defRPr/>
            </a:lvl3pPr>
            <a:lvl4pPr>
              <a:buNone/>
              <a:defRPr/>
            </a:lvl4pPr>
            <a:lvl5pPr>
              <a:buNone/>
              <a:defRPr/>
            </a:lvl5pPr>
          </a:lstStyle>
          <a:p>
            <a:pPr lvl="0"/>
            <a:r>
              <a:rPr lang="nb-NO"/>
              <a:t>Klikk her for å legge til tekst</a:t>
            </a:r>
          </a:p>
        </p:txBody>
      </p:sp>
      <p:sp>
        <p:nvSpPr>
          <p:cNvPr id="7" name="TekstSylinder 6">
            <a:extLst>
              <a:ext uri="{FF2B5EF4-FFF2-40B4-BE49-F238E27FC236}">
                <a16:creationId xmlns:a16="http://schemas.microsoft.com/office/drawing/2014/main" id="{CC449DFE-4F7B-4D32-8A79-BFBA30AD01FA}"/>
              </a:ext>
            </a:extLst>
          </p:cNvPr>
          <p:cNvSpPr txBox="1"/>
          <p:nvPr userDrawn="1"/>
        </p:nvSpPr>
        <p:spPr>
          <a:xfrm>
            <a:off x="1204915" y="2193491"/>
            <a:ext cx="2562225" cy="276999"/>
          </a:xfrm>
          <a:prstGeom prst="rect">
            <a:avLst/>
          </a:prstGeom>
          <a:noFill/>
        </p:spPr>
        <p:txBody>
          <a:bodyPr wrap="square" rtlCol="0">
            <a:spAutoFit/>
          </a:bodyPr>
          <a:lstStyle/>
          <a:p>
            <a:r>
              <a:rPr lang="nb-NO" sz="1200" b="1"/>
              <a:t>Ansvarlig departement</a:t>
            </a:r>
          </a:p>
        </p:txBody>
      </p:sp>
      <p:sp>
        <p:nvSpPr>
          <p:cNvPr id="18" name="Plassholder for tekst 7">
            <a:extLst>
              <a:ext uri="{FF2B5EF4-FFF2-40B4-BE49-F238E27FC236}">
                <a16:creationId xmlns:a16="http://schemas.microsoft.com/office/drawing/2014/main" id="{D07A46D1-8A26-43D8-B5DC-B3BF68A12AEA}"/>
              </a:ext>
            </a:extLst>
          </p:cNvPr>
          <p:cNvSpPr>
            <a:spLocks noGrp="1"/>
          </p:cNvSpPr>
          <p:nvPr>
            <p:ph type="body" sz="quarter" idx="14" hasCustomPrompt="1"/>
          </p:nvPr>
        </p:nvSpPr>
        <p:spPr>
          <a:xfrm>
            <a:off x="1296979" y="2964435"/>
            <a:ext cx="3379797" cy="169879"/>
          </a:xfrm>
        </p:spPr>
        <p:txBody>
          <a:bodyPr/>
          <a:lstStyle>
            <a:lvl1pPr>
              <a:spcBef>
                <a:spcPts val="0"/>
              </a:spcBef>
              <a:buClr>
                <a:schemeClr val="accent1"/>
              </a:buClr>
              <a:buNone/>
              <a:defRPr sz="12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9" name="TekstSylinder 18">
            <a:extLst>
              <a:ext uri="{FF2B5EF4-FFF2-40B4-BE49-F238E27FC236}">
                <a16:creationId xmlns:a16="http://schemas.microsoft.com/office/drawing/2014/main" id="{432AED15-3662-4517-982C-35D5C7B623FA}"/>
              </a:ext>
            </a:extLst>
          </p:cNvPr>
          <p:cNvSpPr txBox="1"/>
          <p:nvPr userDrawn="1"/>
        </p:nvSpPr>
        <p:spPr>
          <a:xfrm>
            <a:off x="1204915" y="2738003"/>
            <a:ext cx="2562225" cy="276999"/>
          </a:xfrm>
          <a:prstGeom prst="rect">
            <a:avLst/>
          </a:prstGeom>
          <a:noFill/>
        </p:spPr>
        <p:txBody>
          <a:bodyPr wrap="square" rtlCol="0">
            <a:spAutoFit/>
          </a:bodyPr>
          <a:lstStyle/>
          <a:p>
            <a:r>
              <a:rPr lang="nb-NO" sz="1200" b="1"/>
              <a:t>Utførende direktorat</a:t>
            </a:r>
          </a:p>
        </p:txBody>
      </p:sp>
      <p:sp>
        <p:nvSpPr>
          <p:cNvPr id="30" name="Plassholder for tekst 7">
            <a:extLst>
              <a:ext uri="{FF2B5EF4-FFF2-40B4-BE49-F238E27FC236}">
                <a16:creationId xmlns:a16="http://schemas.microsoft.com/office/drawing/2014/main" id="{3D9410EB-5BA5-4B69-95AC-339927D79FD5}"/>
              </a:ext>
            </a:extLst>
          </p:cNvPr>
          <p:cNvSpPr>
            <a:spLocks noGrp="1"/>
          </p:cNvSpPr>
          <p:nvPr>
            <p:ph type="body" sz="quarter" idx="15" hasCustomPrompt="1"/>
          </p:nvPr>
        </p:nvSpPr>
        <p:spPr>
          <a:xfrm>
            <a:off x="1296979" y="3510010"/>
            <a:ext cx="3379797" cy="169879"/>
          </a:xfrm>
        </p:spPr>
        <p:txBody>
          <a:bodyPr/>
          <a:lstStyle>
            <a:lvl1pPr>
              <a:spcBef>
                <a:spcPts val="0"/>
              </a:spcBef>
              <a:buClr>
                <a:schemeClr val="accent1"/>
              </a:buClr>
              <a:buNone/>
              <a:defRPr sz="12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1" name="TekstSylinder 30">
            <a:extLst>
              <a:ext uri="{FF2B5EF4-FFF2-40B4-BE49-F238E27FC236}">
                <a16:creationId xmlns:a16="http://schemas.microsoft.com/office/drawing/2014/main" id="{818B05D7-4CDF-4DB3-9386-4BF10F812105}"/>
              </a:ext>
            </a:extLst>
          </p:cNvPr>
          <p:cNvSpPr txBox="1"/>
          <p:nvPr userDrawn="1"/>
        </p:nvSpPr>
        <p:spPr>
          <a:xfrm>
            <a:off x="1204915" y="3283579"/>
            <a:ext cx="2562225" cy="276999"/>
          </a:xfrm>
          <a:prstGeom prst="rect">
            <a:avLst/>
          </a:prstGeom>
          <a:noFill/>
        </p:spPr>
        <p:txBody>
          <a:bodyPr wrap="square" rtlCol="0">
            <a:spAutoFit/>
          </a:bodyPr>
          <a:lstStyle/>
          <a:p>
            <a:r>
              <a:rPr lang="nb-NO" sz="1200" b="1"/>
              <a:t>Utførende direktorat</a:t>
            </a:r>
          </a:p>
        </p:txBody>
      </p:sp>
      <p:sp>
        <p:nvSpPr>
          <p:cNvPr id="46" name="Plassholder for tittel 1">
            <a:extLst>
              <a:ext uri="{FF2B5EF4-FFF2-40B4-BE49-F238E27FC236}">
                <a16:creationId xmlns:a16="http://schemas.microsoft.com/office/drawing/2014/main" id="{50837E34-F4CD-44FE-BBF5-D445DC3F2D18}"/>
              </a:ext>
            </a:extLst>
          </p:cNvPr>
          <p:cNvSpPr>
            <a:spLocks noGrp="1"/>
          </p:cNvSpPr>
          <p:nvPr>
            <p:ph type="title" hasCustomPrompt="1"/>
          </p:nvPr>
        </p:nvSpPr>
        <p:spPr>
          <a:xfrm>
            <a:off x="1297434" y="642757"/>
            <a:ext cx="11955859" cy="692497"/>
          </a:xfrm>
          <a:prstGeom prst="rect">
            <a:avLst/>
          </a:prstGeom>
        </p:spPr>
        <p:txBody>
          <a:bodyPr vert="horz" lIns="0" tIns="0" rIns="0" bIns="0" rtlCol="0" anchor="b" anchorCtr="0">
            <a:noAutofit/>
          </a:bodyPr>
          <a:lstStyle>
            <a:lvl1pPr>
              <a:defRPr sz="4500">
                <a:solidFill>
                  <a:schemeClr val="accent6"/>
                </a:solidFill>
              </a:defRPr>
            </a:lvl1pPr>
          </a:lstStyle>
          <a:p>
            <a:r>
              <a:rPr lang="nb-NO"/>
              <a:t>Overskrift</a:t>
            </a:r>
          </a:p>
        </p:txBody>
      </p:sp>
      <p:sp>
        <p:nvSpPr>
          <p:cNvPr id="47" name="Plassholder for bilde 4">
            <a:extLst>
              <a:ext uri="{FF2B5EF4-FFF2-40B4-BE49-F238E27FC236}">
                <a16:creationId xmlns:a16="http://schemas.microsoft.com/office/drawing/2014/main" id="{863A26C7-C603-4A02-A945-4858DA847A87}"/>
              </a:ext>
            </a:extLst>
          </p:cNvPr>
          <p:cNvSpPr>
            <a:spLocks noGrp="1"/>
          </p:cNvSpPr>
          <p:nvPr>
            <p:ph type="pic" sz="quarter" idx="13" hasCustomPrompt="1"/>
          </p:nvPr>
        </p:nvSpPr>
        <p:spPr>
          <a:xfrm>
            <a:off x="13480865" y="642755"/>
            <a:ext cx="1098059" cy="1098059"/>
          </a:xfrm>
        </p:spPr>
        <p:txBody>
          <a:bodyPr anchor="ctr">
            <a:normAutofit/>
          </a:bodyPr>
          <a:lstStyle>
            <a:lvl1pPr algn="ctr">
              <a:buNone/>
              <a:defRPr sz="1800"/>
            </a:lvl1pPr>
          </a:lstStyle>
          <a:p>
            <a:r>
              <a:rPr lang="nb-NO"/>
              <a:t>Ikon</a:t>
            </a:r>
          </a:p>
        </p:txBody>
      </p:sp>
      <p:sp>
        <p:nvSpPr>
          <p:cNvPr id="15" name="TekstSylinder 11">
            <a:extLst>
              <a:ext uri="{FF2B5EF4-FFF2-40B4-BE49-F238E27FC236}">
                <a16:creationId xmlns:a16="http://schemas.microsoft.com/office/drawing/2014/main" id="{A31EBF86-F54B-3248-A4F1-B9DE66434CDB}"/>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1741554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endParaRPr lang="nb-NO" dirty="0"/>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4621030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sjonsboks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6254413" cy="9144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4" y="642757"/>
            <a:ext cx="11955859" cy="692497"/>
          </a:xfrm>
          <a:prstGeom prst="rect">
            <a:avLst/>
          </a:prstGeom>
        </p:spPr>
        <p:txBody>
          <a:bodyPr vert="horz" lIns="0" tIns="0" rIns="0" bIns="0" rtlCol="0" anchor="b" anchorCtr="0">
            <a:noAutofit/>
          </a:bodyPr>
          <a:lstStyle>
            <a:lvl1pPr>
              <a:defRPr sz="4500">
                <a:solidFill>
                  <a:schemeClr val="accent6"/>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446398" y="3297072"/>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16" name="Plassholder for bilde 4">
            <a:extLst>
              <a:ext uri="{FF2B5EF4-FFF2-40B4-BE49-F238E27FC236}">
                <a16:creationId xmlns:a16="http://schemas.microsoft.com/office/drawing/2014/main" id="{7BFF94D8-ED13-46EE-A799-DEB2E5F0D343}"/>
              </a:ext>
            </a:extLst>
          </p:cNvPr>
          <p:cNvSpPr>
            <a:spLocks noGrp="1"/>
          </p:cNvSpPr>
          <p:nvPr>
            <p:ph type="pic" sz="quarter" idx="18" hasCustomPrompt="1"/>
          </p:nvPr>
        </p:nvSpPr>
        <p:spPr>
          <a:xfrm>
            <a:off x="4701403" y="2334415"/>
            <a:ext cx="824248" cy="824248"/>
          </a:xfrm>
        </p:spPr>
        <p:txBody>
          <a:bodyPr anchor="ctr">
            <a:normAutofit/>
          </a:bodyPr>
          <a:lstStyle>
            <a:lvl1pPr algn="ctr">
              <a:buNone/>
              <a:defRPr sz="1800"/>
            </a:lvl1pPr>
          </a:lstStyle>
          <a:p>
            <a:r>
              <a:rPr lang="nb-NO"/>
              <a:t>Ikon</a:t>
            </a:r>
          </a:p>
        </p:txBody>
      </p:sp>
      <p:sp>
        <p:nvSpPr>
          <p:cNvPr id="34" name="Plassholder for tekst 7">
            <a:extLst>
              <a:ext uri="{FF2B5EF4-FFF2-40B4-BE49-F238E27FC236}">
                <a16:creationId xmlns:a16="http://schemas.microsoft.com/office/drawing/2014/main" id="{2A055CC0-0862-44EE-BD91-5BF86EBC0D07}"/>
              </a:ext>
            </a:extLst>
          </p:cNvPr>
          <p:cNvSpPr>
            <a:spLocks noGrp="1"/>
          </p:cNvSpPr>
          <p:nvPr>
            <p:ph type="body" sz="quarter" idx="19" hasCustomPrompt="1"/>
          </p:nvPr>
        </p:nvSpPr>
        <p:spPr>
          <a:xfrm>
            <a:off x="5898323" y="3294784"/>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5" name="Plassholder for bilde 4">
            <a:extLst>
              <a:ext uri="{FF2B5EF4-FFF2-40B4-BE49-F238E27FC236}">
                <a16:creationId xmlns:a16="http://schemas.microsoft.com/office/drawing/2014/main" id="{56D1D40E-0156-49DA-8DAA-43CCBB8F532E}"/>
              </a:ext>
            </a:extLst>
          </p:cNvPr>
          <p:cNvSpPr>
            <a:spLocks noGrp="1"/>
          </p:cNvSpPr>
          <p:nvPr>
            <p:ph type="pic" sz="quarter" idx="20" hasCustomPrompt="1"/>
          </p:nvPr>
        </p:nvSpPr>
        <p:spPr>
          <a:xfrm>
            <a:off x="9153327" y="2332128"/>
            <a:ext cx="824248" cy="824248"/>
          </a:xfrm>
        </p:spPr>
        <p:txBody>
          <a:bodyPr anchor="ctr">
            <a:normAutofit/>
          </a:bodyPr>
          <a:lstStyle>
            <a:lvl1pPr algn="ctr">
              <a:buNone/>
              <a:defRPr sz="1800"/>
            </a:lvl1pPr>
          </a:lstStyle>
          <a:p>
            <a:r>
              <a:rPr lang="nb-NO"/>
              <a:t>Ikon</a:t>
            </a:r>
          </a:p>
        </p:txBody>
      </p:sp>
      <p:sp>
        <p:nvSpPr>
          <p:cNvPr id="38" name="Plassholder for tekst 7">
            <a:extLst>
              <a:ext uri="{FF2B5EF4-FFF2-40B4-BE49-F238E27FC236}">
                <a16:creationId xmlns:a16="http://schemas.microsoft.com/office/drawing/2014/main" id="{23F0C87F-94C8-4C76-937C-F991668C5471}"/>
              </a:ext>
            </a:extLst>
          </p:cNvPr>
          <p:cNvSpPr>
            <a:spLocks noGrp="1"/>
          </p:cNvSpPr>
          <p:nvPr>
            <p:ph type="body" sz="quarter" idx="21" hasCustomPrompt="1"/>
          </p:nvPr>
        </p:nvSpPr>
        <p:spPr>
          <a:xfrm>
            <a:off x="10350145" y="3295928"/>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9" name="Plassholder for bilde 4">
            <a:extLst>
              <a:ext uri="{FF2B5EF4-FFF2-40B4-BE49-F238E27FC236}">
                <a16:creationId xmlns:a16="http://schemas.microsoft.com/office/drawing/2014/main" id="{AF3EB7C0-F8BA-44CA-942B-35FC2D07007C}"/>
              </a:ext>
            </a:extLst>
          </p:cNvPr>
          <p:cNvSpPr>
            <a:spLocks noGrp="1"/>
          </p:cNvSpPr>
          <p:nvPr>
            <p:ph type="pic" sz="quarter" idx="22" hasCustomPrompt="1"/>
          </p:nvPr>
        </p:nvSpPr>
        <p:spPr>
          <a:xfrm>
            <a:off x="13605150" y="2333271"/>
            <a:ext cx="824248" cy="824248"/>
          </a:xfrm>
        </p:spPr>
        <p:txBody>
          <a:bodyPr anchor="ctr">
            <a:normAutofit/>
          </a:bodyPr>
          <a:lstStyle>
            <a:lvl1pPr algn="ctr">
              <a:buNone/>
              <a:defRPr sz="1800"/>
            </a:lvl1pPr>
          </a:lstStyle>
          <a:p>
            <a:r>
              <a:rPr lang="nb-NO"/>
              <a:t>Ikon</a:t>
            </a:r>
          </a:p>
        </p:txBody>
      </p:sp>
      <p:sp>
        <p:nvSpPr>
          <p:cNvPr id="41" name="Plassholder for tekst 7">
            <a:extLst>
              <a:ext uri="{FF2B5EF4-FFF2-40B4-BE49-F238E27FC236}">
                <a16:creationId xmlns:a16="http://schemas.microsoft.com/office/drawing/2014/main" id="{DE64A72C-AE57-476F-89AE-BEE281296AE0}"/>
              </a:ext>
            </a:extLst>
          </p:cNvPr>
          <p:cNvSpPr>
            <a:spLocks noGrp="1"/>
          </p:cNvSpPr>
          <p:nvPr>
            <p:ph type="body" sz="quarter" idx="23" hasCustomPrompt="1"/>
          </p:nvPr>
        </p:nvSpPr>
        <p:spPr>
          <a:xfrm>
            <a:off x="1446398" y="5997518"/>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5" name="Plassholder for tekst 7">
            <a:extLst>
              <a:ext uri="{FF2B5EF4-FFF2-40B4-BE49-F238E27FC236}">
                <a16:creationId xmlns:a16="http://schemas.microsoft.com/office/drawing/2014/main" id="{2F380F50-96B8-4085-A71E-CD22EA1F9995}"/>
              </a:ext>
            </a:extLst>
          </p:cNvPr>
          <p:cNvSpPr>
            <a:spLocks noGrp="1"/>
          </p:cNvSpPr>
          <p:nvPr>
            <p:ph type="body" sz="quarter" idx="25" hasCustomPrompt="1"/>
          </p:nvPr>
        </p:nvSpPr>
        <p:spPr>
          <a:xfrm>
            <a:off x="5898323" y="5995231"/>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8" name="Plassholder for tekst 7">
            <a:extLst>
              <a:ext uri="{FF2B5EF4-FFF2-40B4-BE49-F238E27FC236}">
                <a16:creationId xmlns:a16="http://schemas.microsoft.com/office/drawing/2014/main" id="{CE3ADA12-B05B-4014-AA16-27635064FE8D}"/>
              </a:ext>
            </a:extLst>
          </p:cNvPr>
          <p:cNvSpPr>
            <a:spLocks noGrp="1"/>
          </p:cNvSpPr>
          <p:nvPr>
            <p:ph type="body" sz="quarter" idx="27" hasCustomPrompt="1"/>
          </p:nvPr>
        </p:nvSpPr>
        <p:spPr>
          <a:xfrm>
            <a:off x="10350145" y="5996374"/>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7" name="TekstSylinder 11">
            <a:extLst>
              <a:ext uri="{FF2B5EF4-FFF2-40B4-BE49-F238E27FC236}">
                <a16:creationId xmlns:a16="http://schemas.microsoft.com/office/drawing/2014/main" id="{4991ECCB-C1B3-E849-B838-4202397A2310}"/>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13018852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Informasjonsboks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6254413" cy="9144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800">
              <a:solidFill>
                <a:schemeClr val="accent1"/>
              </a:solidFill>
            </a:endParaRPr>
          </a:p>
        </p:txBody>
      </p:sp>
      <p:sp>
        <p:nvSpPr>
          <p:cNvPr id="3" name="Rektangel 2">
            <a:extLst>
              <a:ext uri="{FF2B5EF4-FFF2-40B4-BE49-F238E27FC236}">
                <a16:creationId xmlns:a16="http://schemas.microsoft.com/office/drawing/2014/main" id="{4DFCCDA3-EA8A-4583-8226-9624EB933A9F}"/>
              </a:ext>
            </a:extLst>
          </p:cNvPr>
          <p:cNvSpPr/>
          <p:nvPr userDrawn="1"/>
        </p:nvSpPr>
        <p:spPr>
          <a:xfrm>
            <a:off x="1296976" y="2193493"/>
            <a:ext cx="4378097" cy="2609129"/>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800"/>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1297434" y="642757"/>
            <a:ext cx="11955859" cy="692497"/>
          </a:xfrm>
          <a:prstGeom prst="rect">
            <a:avLst/>
          </a:prstGeom>
        </p:spPr>
        <p:txBody>
          <a:bodyPr vert="horz" lIns="0" tIns="0" rIns="0" bIns="0" rtlCol="0" anchor="b" anchorCtr="0">
            <a:noAutofit/>
          </a:bodyPr>
          <a:lstStyle>
            <a:lvl1pPr>
              <a:defRPr sz="4500">
                <a:solidFill>
                  <a:schemeClr val="accent6"/>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446398" y="3297072"/>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1297433" y="8267700"/>
            <a:ext cx="7772400" cy="330200"/>
          </a:xfrm>
        </p:spPr>
        <p:txBody>
          <a:bodyPr>
            <a:noAutofit/>
          </a:bodyPr>
          <a:lstStyle>
            <a:lvl1pPr>
              <a:buNone/>
              <a:defRPr sz="1100" b="1">
                <a:solidFill>
                  <a:schemeClr val="accent1"/>
                </a:solidFill>
              </a:defRPr>
            </a:lvl1pPr>
          </a:lstStyle>
          <a:p>
            <a:pPr lvl="0"/>
            <a:r>
              <a:rPr lang="nb-NO" err="1"/>
              <a:t>X</a:t>
            </a:r>
            <a:r>
              <a:rPr lang="nb-NO"/>
              <a:t> – Seksjon/kapittel</a:t>
            </a:r>
          </a:p>
        </p:txBody>
      </p:sp>
      <p:sp>
        <p:nvSpPr>
          <p:cNvPr id="16" name="Plassholder for bilde 4">
            <a:extLst>
              <a:ext uri="{FF2B5EF4-FFF2-40B4-BE49-F238E27FC236}">
                <a16:creationId xmlns:a16="http://schemas.microsoft.com/office/drawing/2014/main" id="{7BFF94D8-ED13-46EE-A799-DEB2E5F0D343}"/>
              </a:ext>
            </a:extLst>
          </p:cNvPr>
          <p:cNvSpPr>
            <a:spLocks noGrp="1"/>
          </p:cNvSpPr>
          <p:nvPr>
            <p:ph type="pic" sz="quarter" idx="18" hasCustomPrompt="1"/>
          </p:nvPr>
        </p:nvSpPr>
        <p:spPr>
          <a:xfrm>
            <a:off x="4701403" y="2334415"/>
            <a:ext cx="824248" cy="824248"/>
          </a:xfrm>
        </p:spPr>
        <p:txBody>
          <a:bodyPr anchor="ctr">
            <a:normAutofit/>
          </a:bodyPr>
          <a:lstStyle>
            <a:lvl1pPr algn="ctr">
              <a:buNone/>
              <a:defRPr sz="1800"/>
            </a:lvl1pPr>
          </a:lstStyle>
          <a:p>
            <a:r>
              <a:rPr lang="nb-NO"/>
              <a:t>Ikon</a:t>
            </a:r>
          </a:p>
        </p:txBody>
      </p:sp>
      <p:sp>
        <p:nvSpPr>
          <p:cNvPr id="5" name="Rektangel 4">
            <a:extLst>
              <a:ext uri="{FF2B5EF4-FFF2-40B4-BE49-F238E27FC236}">
                <a16:creationId xmlns:a16="http://schemas.microsoft.com/office/drawing/2014/main" id="{BE105A8C-39FC-4982-9EEE-74DD5C2945E6}"/>
              </a:ext>
            </a:extLst>
          </p:cNvPr>
          <p:cNvSpPr/>
          <p:nvPr userDrawn="1"/>
        </p:nvSpPr>
        <p:spPr>
          <a:xfrm>
            <a:off x="1296976" y="4893938"/>
            <a:ext cx="4378097" cy="2609129"/>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800"/>
          </a:p>
        </p:txBody>
      </p:sp>
      <p:sp>
        <p:nvSpPr>
          <p:cNvPr id="11" name="Rektangel 10">
            <a:extLst>
              <a:ext uri="{FF2B5EF4-FFF2-40B4-BE49-F238E27FC236}">
                <a16:creationId xmlns:a16="http://schemas.microsoft.com/office/drawing/2014/main" id="{1526E4E1-BF08-44EB-ADE1-6230D1BAF1DC}"/>
              </a:ext>
            </a:extLst>
          </p:cNvPr>
          <p:cNvSpPr/>
          <p:nvPr userDrawn="1"/>
        </p:nvSpPr>
        <p:spPr>
          <a:xfrm>
            <a:off x="5748902" y="2193493"/>
            <a:ext cx="4378097" cy="2609129"/>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800"/>
          </a:p>
        </p:txBody>
      </p:sp>
      <p:sp>
        <p:nvSpPr>
          <p:cNvPr id="12" name="Rektangel 11">
            <a:extLst>
              <a:ext uri="{FF2B5EF4-FFF2-40B4-BE49-F238E27FC236}">
                <a16:creationId xmlns:a16="http://schemas.microsoft.com/office/drawing/2014/main" id="{126E9F46-3721-4911-81EF-9F35432AF986}"/>
              </a:ext>
            </a:extLst>
          </p:cNvPr>
          <p:cNvSpPr/>
          <p:nvPr userDrawn="1"/>
        </p:nvSpPr>
        <p:spPr>
          <a:xfrm>
            <a:off x="5748902" y="4893938"/>
            <a:ext cx="4378097" cy="2609129"/>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800"/>
          </a:p>
        </p:txBody>
      </p:sp>
      <p:sp>
        <p:nvSpPr>
          <p:cNvPr id="13" name="Rektangel 12">
            <a:extLst>
              <a:ext uri="{FF2B5EF4-FFF2-40B4-BE49-F238E27FC236}">
                <a16:creationId xmlns:a16="http://schemas.microsoft.com/office/drawing/2014/main" id="{92DAAE2C-AB2F-45C0-BE40-9FFABBACC4B4}"/>
              </a:ext>
            </a:extLst>
          </p:cNvPr>
          <p:cNvSpPr/>
          <p:nvPr userDrawn="1"/>
        </p:nvSpPr>
        <p:spPr>
          <a:xfrm>
            <a:off x="10200826" y="2194177"/>
            <a:ext cx="4378097" cy="2609129"/>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800"/>
          </a:p>
        </p:txBody>
      </p:sp>
      <p:sp>
        <p:nvSpPr>
          <p:cNvPr id="14" name="Rektangel 13">
            <a:extLst>
              <a:ext uri="{FF2B5EF4-FFF2-40B4-BE49-F238E27FC236}">
                <a16:creationId xmlns:a16="http://schemas.microsoft.com/office/drawing/2014/main" id="{FC933420-EBD5-4474-8D11-683739499828}"/>
              </a:ext>
            </a:extLst>
          </p:cNvPr>
          <p:cNvSpPr/>
          <p:nvPr userDrawn="1"/>
        </p:nvSpPr>
        <p:spPr>
          <a:xfrm>
            <a:off x="10200826" y="4894622"/>
            <a:ext cx="4378097" cy="2609129"/>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800"/>
          </a:p>
        </p:txBody>
      </p:sp>
      <p:sp>
        <p:nvSpPr>
          <p:cNvPr id="34" name="Plassholder for tekst 7">
            <a:extLst>
              <a:ext uri="{FF2B5EF4-FFF2-40B4-BE49-F238E27FC236}">
                <a16:creationId xmlns:a16="http://schemas.microsoft.com/office/drawing/2014/main" id="{2A055CC0-0862-44EE-BD91-5BF86EBC0D07}"/>
              </a:ext>
            </a:extLst>
          </p:cNvPr>
          <p:cNvSpPr>
            <a:spLocks noGrp="1"/>
          </p:cNvSpPr>
          <p:nvPr>
            <p:ph type="body" sz="quarter" idx="19" hasCustomPrompt="1"/>
          </p:nvPr>
        </p:nvSpPr>
        <p:spPr>
          <a:xfrm>
            <a:off x="5898323" y="3294784"/>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5" name="Plassholder for bilde 4">
            <a:extLst>
              <a:ext uri="{FF2B5EF4-FFF2-40B4-BE49-F238E27FC236}">
                <a16:creationId xmlns:a16="http://schemas.microsoft.com/office/drawing/2014/main" id="{56D1D40E-0156-49DA-8DAA-43CCBB8F532E}"/>
              </a:ext>
            </a:extLst>
          </p:cNvPr>
          <p:cNvSpPr>
            <a:spLocks noGrp="1"/>
          </p:cNvSpPr>
          <p:nvPr>
            <p:ph type="pic" sz="quarter" idx="20" hasCustomPrompt="1"/>
          </p:nvPr>
        </p:nvSpPr>
        <p:spPr>
          <a:xfrm>
            <a:off x="9153327" y="2332128"/>
            <a:ext cx="824248" cy="824248"/>
          </a:xfrm>
        </p:spPr>
        <p:txBody>
          <a:bodyPr anchor="ctr">
            <a:normAutofit/>
          </a:bodyPr>
          <a:lstStyle>
            <a:lvl1pPr algn="ctr">
              <a:buNone/>
              <a:defRPr sz="1800"/>
            </a:lvl1pPr>
          </a:lstStyle>
          <a:p>
            <a:r>
              <a:rPr lang="nb-NO"/>
              <a:t>Ikon</a:t>
            </a:r>
          </a:p>
        </p:txBody>
      </p:sp>
      <p:sp>
        <p:nvSpPr>
          <p:cNvPr id="38" name="Plassholder for tekst 7">
            <a:extLst>
              <a:ext uri="{FF2B5EF4-FFF2-40B4-BE49-F238E27FC236}">
                <a16:creationId xmlns:a16="http://schemas.microsoft.com/office/drawing/2014/main" id="{23F0C87F-94C8-4C76-937C-F991668C5471}"/>
              </a:ext>
            </a:extLst>
          </p:cNvPr>
          <p:cNvSpPr>
            <a:spLocks noGrp="1"/>
          </p:cNvSpPr>
          <p:nvPr>
            <p:ph type="body" sz="quarter" idx="21" hasCustomPrompt="1"/>
          </p:nvPr>
        </p:nvSpPr>
        <p:spPr>
          <a:xfrm>
            <a:off x="10350145" y="3295928"/>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9" name="Plassholder for bilde 4">
            <a:extLst>
              <a:ext uri="{FF2B5EF4-FFF2-40B4-BE49-F238E27FC236}">
                <a16:creationId xmlns:a16="http://schemas.microsoft.com/office/drawing/2014/main" id="{AF3EB7C0-F8BA-44CA-942B-35FC2D07007C}"/>
              </a:ext>
            </a:extLst>
          </p:cNvPr>
          <p:cNvSpPr>
            <a:spLocks noGrp="1"/>
          </p:cNvSpPr>
          <p:nvPr>
            <p:ph type="pic" sz="quarter" idx="22" hasCustomPrompt="1"/>
          </p:nvPr>
        </p:nvSpPr>
        <p:spPr>
          <a:xfrm>
            <a:off x="13605150" y="2333271"/>
            <a:ext cx="824248" cy="824248"/>
          </a:xfrm>
        </p:spPr>
        <p:txBody>
          <a:bodyPr anchor="ctr">
            <a:normAutofit/>
          </a:bodyPr>
          <a:lstStyle>
            <a:lvl1pPr algn="ctr">
              <a:buNone/>
              <a:defRPr sz="1800"/>
            </a:lvl1pPr>
          </a:lstStyle>
          <a:p>
            <a:r>
              <a:rPr lang="nb-NO"/>
              <a:t>Ikon</a:t>
            </a:r>
          </a:p>
        </p:txBody>
      </p:sp>
      <p:sp>
        <p:nvSpPr>
          <p:cNvPr id="41" name="Plassholder for tekst 7">
            <a:extLst>
              <a:ext uri="{FF2B5EF4-FFF2-40B4-BE49-F238E27FC236}">
                <a16:creationId xmlns:a16="http://schemas.microsoft.com/office/drawing/2014/main" id="{DE64A72C-AE57-476F-89AE-BEE281296AE0}"/>
              </a:ext>
            </a:extLst>
          </p:cNvPr>
          <p:cNvSpPr>
            <a:spLocks noGrp="1"/>
          </p:cNvSpPr>
          <p:nvPr>
            <p:ph type="body" sz="quarter" idx="23" hasCustomPrompt="1"/>
          </p:nvPr>
        </p:nvSpPr>
        <p:spPr>
          <a:xfrm>
            <a:off x="1446398" y="5997518"/>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2" name="Plassholder for bilde 4">
            <a:extLst>
              <a:ext uri="{FF2B5EF4-FFF2-40B4-BE49-F238E27FC236}">
                <a16:creationId xmlns:a16="http://schemas.microsoft.com/office/drawing/2014/main" id="{DDE8B955-46CB-4704-8844-CAE8217D6C23}"/>
              </a:ext>
            </a:extLst>
          </p:cNvPr>
          <p:cNvSpPr>
            <a:spLocks noGrp="1"/>
          </p:cNvSpPr>
          <p:nvPr>
            <p:ph type="pic" sz="quarter" idx="24" hasCustomPrompt="1"/>
          </p:nvPr>
        </p:nvSpPr>
        <p:spPr>
          <a:xfrm>
            <a:off x="4701403" y="5034861"/>
            <a:ext cx="824248" cy="824248"/>
          </a:xfrm>
        </p:spPr>
        <p:txBody>
          <a:bodyPr anchor="ctr">
            <a:normAutofit/>
          </a:bodyPr>
          <a:lstStyle>
            <a:lvl1pPr algn="ctr">
              <a:buNone/>
              <a:defRPr sz="1800"/>
            </a:lvl1pPr>
          </a:lstStyle>
          <a:p>
            <a:r>
              <a:rPr lang="nb-NO"/>
              <a:t>Ikon</a:t>
            </a:r>
          </a:p>
        </p:txBody>
      </p:sp>
      <p:sp>
        <p:nvSpPr>
          <p:cNvPr id="45" name="Plassholder for tekst 7">
            <a:extLst>
              <a:ext uri="{FF2B5EF4-FFF2-40B4-BE49-F238E27FC236}">
                <a16:creationId xmlns:a16="http://schemas.microsoft.com/office/drawing/2014/main" id="{2F380F50-96B8-4085-A71E-CD22EA1F9995}"/>
              </a:ext>
            </a:extLst>
          </p:cNvPr>
          <p:cNvSpPr>
            <a:spLocks noGrp="1"/>
          </p:cNvSpPr>
          <p:nvPr>
            <p:ph type="body" sz="quarter" idx="25" hasCustomPrompt="1"/>
          </p:nvPr>
        </p:nvSpPr>
        <p:spPr>
          <a:xfrm>
            <a:off x="5898323" y="5995231"/>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6" name="Plassholder for bilde 4">
            <a:extLst>
              <a:ext uri="{FF2B5EF4-FFF2-40B4-BE49-F238E27FC236}">
                <a16:creationId xmlns:a16="http://schemas.microsoft.com/office/drawing/2014/main" id="{82923A2E-D872-4C98-90DD-74B079516B33}"/>
              </a:ext>
            </a:extLst>
          </p:cNvPr>
          <p:cNvSpPr>
            <a:spLocks noGrp="1"/>
          </p:cNvSpPr>
          <p:nvPr>
            <p:ph type="pic" sz="quarter" idx="26" hasCustomPrompt="1"/>
          </p:nvPr>
        </p:nvSpPr>
        <p:spPr>
          <a:xfrm>
            <a:off x="9153327" y="5032575"/>
            <a:ext cx="824248" cy="824248"/>
          </a:xfrm>
        </p:spPr>
        <p:txBody>
          <a:bodyPr anchor="ctr">
            <a:normAutofit/>
          </a:bodyPr>
          <a:lstStyle>
            <a:lvl1pPr algn="ctr">
              <a:buNone/>
              <a:defRPr sz="1800"/>
            </a:lvl1pPr>
          </a:lstStyle>
          <a:p>
            <a:r>
              <a:rPr lang="nb-NO"/>
              <a:t>Ikon</a:t>
            </a:r>
          </a:p>
        </p:txBody>
      </p:sp>
      <p:sp>
        <p:nvSpPr>
          <p:cNvPr id="48" name="Plassholder for tekst 7">
            <a:extLst>
              <a:ext uri="{FF2B5EF4-FFF2-40B4-BE49-F238E27FC236}">
                <a16:creationId xmlns:a16="http://schemas.microsoft.com/office/drawing/2014/main" id="{CE3ADA12-B05B-4014-AA16-27635064FE8D}"/>
              </a:ext>
            </a:extLst>
          </p:cNvPr>
          <p:cNvSpPr>
            <a:spLocks noGrp="1"/>
          </p:cNvSpPr>
          <p:nvPr>
            <p:ph type="body" sz="quarter" idx="27" hasCustomPrompt="1"/>
          </p:nvPr>
        </p:nvSpPr>
        <p:spPr>
          <a:xfrm>
            <a:off x="10350145" y="5996374"/>
            <a:ext cx="4079254" cy="1318997"/>
          </a:xfrm>
        </p:spPr>
        <p:txBody>
          <a:bodyPr/>
          <a:lstStyle>
            <a:lvl1pPr marL="0">
              <a:spcBef>
                <a:spcPts val="0"/>
              </a:spcBef>
              <a:buClr>
                <a:schemeClr val="accent1"/>
              </a:buClr>
              <a:buNone/>
              <a:defRPr sz="14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9" name="Plassholder for bilde 4">
            <a:extLst>
              <a:ext uri="{FF2B5EF4-FFF2-40B4-BE49-F238E27FC236}">
                <a16:creationId xmlns:a16="http://schemas.microsoft.com/office/drawing/2014/main" id="{72A0DCC2-C436-4FB4-B96F-E4F74AA656CE}"/>
              </a:ext>
            </a:extLst>
          </p:cNvPr>
          <p:cNvSpPr>
            <a:spLocks noGrp="1"/>
          </p:cNvSpPr>
          <p:nvPr>
            <p:ph type="pic" sz="quarter" idx="28" hasCustomPrompt="1"/>
          </p:nvPr>
        </p:nvSpPr>
        <p:spPr>
          <a:xfrm>
            <a:off x="13605150" y="5033717"/>
            <a:ext cx="824248" cy="824248"/>
          </a:xfrm>
        </p:spPr>
        <p:txBody>
          <a:bodyPr anchor="ctr">
            <a:normAutofit/>
          </a:bodyPr>
          <a:lstStyle>
            <a:lvl1pPr algn="ctr">
              <a:buNone/>
              <a:defRPr sz="1800"/>
            </a:lvl1pPr>
          </a:lstStyle>
          <a:p>
            <a:r>
              <a:rPr lang="nb-NO"/>
              <a:t>Ikon</a:t>
            </a:r>
          </a:p>
        </p:txBody>
      </p:sp>
      <p:sp>
        <p:nvSpPr>
          <p:cNvPr id="50" name="Plassholder for bilde 4">
            <a:extLst>
              <a:ext uri="{FF2B5EF4-FFF2-40B4-BE49-F238E27FC236}">
                <a16:creationId xmlns:a16="http://schemas.microsoft.com/office/drawing/2014/main" id="{97DCD19A-C225-4F57-9959-BBAD4C19F2FA}"/>
              </a:ext>
            </a:extLst>
          </p:cNvPr>
          <p:cNvSpPr>
            <a:spLocks noGrp="1"/>
          </p:cNvSpPr>
          <p:nvPr>
            <p:ph type="pic" sz="quarter" idx="13" hasCustomPrompt="1"/>
          </p:nvPr>
        </p:nvSpPr>
        <p:spPr>
          <a:xfrm>
            <a:off x="13480865" y="642755"/>
            <a:ext cx="1098059" cy="1098059"/>
          </a:xfrm>
        </p:spPr>
        <p:txBody>
          <a:bodyPr anchor="ctr">
            <a:normAutofit/>
          </a:bodyPr>
          <a:lstStyle>
            <a:lvl1pPr algn="ctr">
              <a:buNone/>
              <a:defRPr sz="1800"/>
            </a:lvl1pPr>
          </a:lstStyle>
          <a:p>
            <a:r>
              <a:rPr lang="nb-NO"/>
              <a:t>Ikon</a:t>
            </a:r>
          </a:p>
        </p:txBody>
      </p:sp>
      <p:sp>
        <p:nvSpPr>
          <p:cNvPr id="26" name="TekstSylinder 11">
            <a:extLst>
              <a:ext uri="{FF2B5EF4-FFF2-40B4-BE49-F238E27FC236}">
                <a16:creationId xmlns:a16="http://schemas.microsoft.com/office/drawing/2014/main" id="{5F6DC60B-4133-924D-B0FE-6A0E0B148E3E}"/>
              </a:ext>
            </a:extLst>
          </p:cNvPr>
          <p:cNvSpPr txBox="1"/>
          <p:nvPr userDrawn="1"/>
        </p:nvSpPr>
        <p:spPr>
          <a:xfrm>
            <a:off x="8280400" y="8267700"/>
            <a:ext cx="6323923" cy="33020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1100"/>
              <a:t>Erfaringsrapport 2020 | Handlingsplanen for regjeringens digitaliseringsstrategi | </a:t>
            </a:r>
          </a:p>
        </p:txBody>
      </p:sp>
    </p:spTree>
    <p:extLst>
      <p:ext uri="{BB962C8B-B14F-4D97-AF65-F5344CB8AC3E}">
        <p14:creationId xmlns:p14="http://schemas.microsoft.com/office/powerpoint/2010/main" val="23471131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8"/>
            <a:ext cx="16254413" cy="9141965"/>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7207" y="4295661"/>
            <a:ext cx="1489437" cy="1495540"/>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userDrawn="1"/>
        </p:nvSpPr>
        <p:spPr>
          <a:xfrm>
            <a:off x="8054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Digitaliseringsdirektoratet</a:t>
            </a:r>
          </a:p>
          <a:p>
            <a:pPr>
              <a:lnSpc>
                <a:spcPct val="150000"/>
              </a:lnSpc>
              <a:spcBef>
                <a:spcPts val="0"/>
              </a:spcBef>
            </a:pPr>
            <a:r>
              <a:rPr lang="nb-NO" sz="1200" b="0">
                <a:solidFill>
                  <a:schemeClr val="bg1"/>
                </a:solidFill>
              </a:rPr>
              <a:t>postmottak@digdir.no</a:t>
            </a:r>
          </a:p>
          <a:p>
            <a:pPr>
              <a:lnSpc>
                <a:spcPct val="150000"/>
              </a:lnSpc>
              <a:spcBef>
                <a:spcPts val="0"/>
              </a:spcBef>
            </a:pPr>
            <a:r>
              <a:rPr lang="nb-NO" sz="1200" b="0">
                <a:solidFill>
                  <a:schemeClr val="bg1"/>
                </a:solidFill>
              </a:rPr>
              <a:t>22 45 10 00</a:t>
            </a:r>
          </a:p>
          <a:p>
            <a:pPr>
              <a:lnSpc>
                <a:spcPct val="150000"/>
              </a:lnSpc>
              <a:spcBef>
                <a:spcPts val="0"/>
              </a:spcBef>
            </a:pPr>
            <a:r>
              <a:rPr lang="nb-NO" sz="1200"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userDrawn="1"/>
        </p:nvSpPr>
        <p:spPr>
          <a:xfrm>
            <a:off x="11102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Besøksadresser:</a:t>
            </a:r>
          </a:p>
          <a:p>
            <a:pPr>
              <a:lnSpc>
                <a:spcPct val="150000"/>
              </a:lnSpc>
              <a:spcBef>
                <a:spcPts val="0"/>
              </a:spcBef>
            </a:pPr>
            <a:r>
              <a:rPr lang="nb-NO" sz="1200" b="1">
                <a:solidFill>
                  <a:schemeClr val="bg1"/>
                </a:solidFill>
              </a:rPr>
              <a:t>Industriveien 1, 8900 Brønnøysund</a:t>
            </a:r>
          </a:p>
          <a:p>
            <a:pPr>
              <a:lnSpc>
                <a:spcPct val="150000"/>
              </a:lnSpc>
              <a:spcBef>
                <a:spcPts val="0"/>
              </a:spcBef>
            </a:pPr>
            <a:r>
              <a:rPr lang="nb-NO" sz="1200" b="1">
                <a:solidFill>
                  <a:schemeClr val="bg1"/>
                </a:solidFill>
              </a:rPr>
              <a:t>Skrivarevegen 2, 6863 Leikanger</a:t>
            </a:r>
          </a:p>
          <a:p>
            <a:pPr>
              <a:lnSpc>
                <a:spcPct val="150000"/>
              </a:lnSpc>
              <a:spcBef>
                <a:spcPts val="0"/>
              </a:spcBef>
            </a:pPr>
            <a:r>
              <a:rPr lang="nb-NO" sz="1200" b="1">
                <a:solidFill>
                  <a:schemeClr val="bg1"/>
                </a:solidFill>
              </a:rPr>
              <a:t>Grev Wedels Plass 9, 0151 Oslo</a:t>
            </a:r>
            <a:endParaRPr lang="nb-NO" sz="1200" b="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userDrawn="1"/>
        </p:nvSpPr>
        <p:spPr>
          <a:xfrm>
            <a:off x="3393644" y="7302500"/>
            <a:ext cx="3048000" cy="335156"/>
          </a:xfrm>
          <a:prstGeom prst="rect">
            <a:avLst/>
          </a:prstGeom>
          <a:noFill/>
        </p:spPr>
        <p:txBody>
          <a:bodyPr wrap="square" rtlCol="0">
            <a:spAutoFit/>
          </a:bodyPr>
          <a:lstStyle/>
          <a:p>
            <a:pPr>
              <a:lnSpc>
                <a:spcPct val="150000"/>
              </a:lnSpc>
              <a:spcBef>
                <a:spcPts val="0"/>
              </a:spcBef>
            </a:pPr>
            <a:r>
              <a:rPr lang="nb-NO" sz="1200" b="1">
                <a:solidFill>
                  <a:srgbClr val="1E2B3C"/>
                </a:solidFill>
              </a:rPr>
              <a:t>digdir.no</a:t>
            </a:r>
            <a:endParaRPr lang="nb-NO" sz="1200" b="0">
              <a:solidFill>
                <a:srgbClr val="1E2B3C"/>
              </a:solidFill>
            </a:endParaRPr>
          </a:p>
        </p:txBody>
      </p:sp>
    </p:spTree>
    <p:extLst>
      <p:ext uri="{BB962C8B-B14F-4D97-AF65-F5344CB8AC3E}">
        <p14:creationId xmlns:p14="http://schemas.microsoft.com/office/powerpoint/2010/main" val="2642590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5B4F52A-0A56-41DA-823D-79285903CE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8" name="Tittel 1">
            <a:extLst>
              <a:ext uri="{FF2B5EF4-FFF2-40B4-BE49-F238E27FC236}">
                <a16:creationId xmlns:a16="http://schemas.microsoft.com/office/drawing/2014/main" id="{ADEEB911-1118-4ADB-AA88-C8CF0C0F1C88}"/>
              </a:ext>
            </a:extLst>
          </p:cNvPr>
          <p:cNvSpPr>
            <a:spLocks noGrp="1"/>
          </p:cNvSpPr>
          <p:nvPr>
            <p:ph type="ctrTitle" hasCustomPrompt="1"/>
          </p:nvPr>
        </p:nvSpPr>
        <p:spPr>
          <a:xfrm>
            <a:off x="5463540" y="4093405"/>
            <a:ext cx="9864090" cy="1530351"/>
          </a:xfrm>
          <a:prstGeom prst="rect">
            <a:avLst/>
          </a:prstGeom>
        </p:spPr>
        <p:txBody>
          <a:bodyPr anchor="b">
            <a:normAutofit/>
          </a:bodyPr>
          <a:lstStyle>
            <a:lvl1pPr algn="l">
              <a:lnSpc>
                <a:spcPct val="100000"/>
              </a:lnSpc>
              <a:defRPr sz="5000">
                <a:solidFill>
                  <a:schemeClr val="bg1"/>
                </a:solidFill>
              </a:defRPr>
            </a:lvl1pPr>
          </a:lstStyle>
          <a:p>
            <a:r>
              <a:rPr lang="nb-NO"/>
              <a:t>Klikk for å legge til en tittel</a:t>
            </a:r>
          </a:p>
        </p:txBody>
      </p:sp>
      <p:pic>
        <p:nvPicPr>
          <p:cNvPr id="9" name="Bilde 8">
            <a:extLst>
              <a:ext uri="{FF2B5EF4-FFF2-40B4-BE49-F238E27FC236}">
                <a16:creationId xmlns:a16="http://schemas.microsoft.com/office/drawing/2014/main" id="{98A0EE51-73B4-45FD-8952-5573A124EC6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
        <p:nvSpPr>
          <p:cNvPr id="10" name="TextBox 6">
            <a:extLst>
              <a:ext uri="{FF2B5EF4-FFF2-40B4-BE49-F238E27FC236}">
                <a16:creationId xmlns:a16="http://schemas.microsoft.com/office/drawing/2014/main" id="{A1DF7509-0A1C-4A0A-9A5D-F816575802EF}"/>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
        <p:nvSpPr>
          <p:cNvPr id="11" name="Undertittel 2">
            <a:extLst>
              <a:ext uri="{FF2B5EF4-FFF2-40B4-BE49-F238E27FC236}">
                <a16:creationId xmlns:a16="http://schemas.microsoft.com/office/drawing/2014/main" id="{2A0E6153-CF36-466E-A053-D8B7FDF30BFA}"/>
              </a:ext>
            </a:extLst>
          </p:cNvPr>
          <p:cNvSpPr>
            <a:spLocks noGrp="1"/>
          </p:cNvSpPr>
          <p:nvPr>
            <p:ph type="subTitle" idx="1"/>
          </p:nvPr>
        </p:nvSpPr>
        <p:spPr>
          <a:xfrm>
            <a:off x="5463541" y="5857673"/>
            <a:ext cx="6229350" cy="1235392"/>
          </a:xfrm>
        </p:spPr>
        <p:txBody>
          <a:bodyPr>
            <a:normAutofit/>
          </a:bodyPr>
          <a:lstStyle>
            <a:lvl1pPr marL="0" indent="0" algn="l">
              <a:buNone/>
              <a:defRPr sz="3200">
                <a:solidFill>
                  <a:schemeClr val="bg1"/>
                </a:solidFill>
              </a:defRPr>
            </a:lvl1pPr>
          </a:lstStyle>
          <a:p>
            <a:endParaRPr lang="nb-NO"/>
          </a:p>
        </p:txBody>
      </p:sp>
      <p:pic>
        <p:nvPicPr>
          <p:cNvPr id="3" name="Bilde 2">
            <a:extLst>
              <a:ext uri="{FF2B5EF4-FFF2-40B4-BE49-F238E27FC236}">
                <a16:creationId xmlns:a16="http://schemas.microsoft.com/office/drawing/2014/main" id="{F6796547-2A8D-4962-9116-55B214E69F8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59616" y="1168261"/>
            <a:ext cx="5344205" cy="785913"/>
          </a:xfrm>
          <a:prstGeom prst="rect">
            <a:avLst/>
          </a:prstGeom>
        </p:spPr>
      </p:pic>
    </p:spTree>
    <p:extLst>
      <p:ext uri="{BB962C8B-B14F-4D97-AF65-F5344CB8AC3E}">
        <p14:creationId xmlns:p14="http://schemas.microsoft.com/office/powerpoint/2010/main" val="19985278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B7393086-08B1-4A88-BE93-5338C6FFD571}"/>
              </a:ext>
            </a:extLst>
          </p:cNvPr>
          <p:cNvSpPr>
            <a:spLocks noGrp="1"/>
          </p:cNvSpPr>
          <p:nvPr>
            <p:ph type="title"/>
          </p:nvPr>
        </p:nvSpPr>
        <p:spPr>
          <a:xfrm>
            <a:off x="1638674" y="738008"/>
            <a:ext cx="13680000" cy="692497"/>
          </a:xfrm>
          <a:prstGeom prst="rect">
            <a:avLst/>
          </a:prstGeom>
        </p:spPr>
        <p:txBody>
          <a:bodyPr vert="horz" lIns="0" tIns="0" rIns="0" bIns="0" rtlCol="0" anchor="b" anchorCtr="0">
            <a:noAutofit/>
          </a:bodyPr>
          <a:lstStyle>
            <a:lvl1pPr>
              <a:defRPr b="0">
                <a:latin typeface="Arial" panose="020B0604020202020204" pitchFamily="34" charset="0"/>
                <a:cs typeface="Arial" panose="020B0604020202020204" pitchFamily="34" charset="0"/>
              </a:defRPr>
            </a:lvl1pPr>
          </a:lstStyle>
          <a:p>
            <a:r>
              <a:rPr lang="en-US" noProof="0"/>
              <a:t>Klikk for å redigere tittelstil</a:t>
            </a:r>
          </a:p>
        </p:txBody>
      </p:sp>
      <p:sp>
        <p:nvSpPr>
          <p:cNvPr id="8" name="Plassholder for tekst 2">
            <a:extLst>
              <a:ext uri="{FF2B5EF4-FFF2-40B4-BE49-F238E27FC236}">
                <a16:creationId xmlns:a16="http://schemas.microsoft.com/office/drawing/2014/main" id="{0BC73AA3-EE6D-4D10-A797-46A819E91AA5}"/>
              </a:ext>
            </a:extLst>
          </p:cNvPr>
          <p:cNvSpPr>
            <a:spLocks noGrp="1"/>
          </p:cNvSpPr>
          <p:nvPr>
            <p:ph idx="1"/>
          </p:nvPr>
        </p:nvSpPr>
        <p:spPr>
          <a:xfrm>
            <a:off x="1638674" y="1710780"/>
            <a:ext cx="13680000" cy="6480000"/>
          </a:xfrm>
          <a:prstGeom prst="rect">
            <a:avLst/>
          </a:prstGeom>
        </p:spPr>
        <p:txBody>
          <a:bodyPr vert="horz" lIns="0" tIns="0" rIns="0" bIns="0" rtlCol="0">
            <a:normAutofit/>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en-US" noProof="0"/>
              <a:t>Klikk for å redigere tekststiler i malen</a:t>
            </a:r>
          </a:p>
          <a:p>
            <a:pPr lvl="1"/>
            <a:r>
              <a:rPr lang="en-US" noProof="0"/>
              <a:t>Andre nivå</a:t>
            </a:r>
          </a:p>
          <a:p>
            <a:pPr lvl="2"/>
            <a:r>
              <a:rPr lang="en-US" noProof="0"/>
              <a:t>Tredje nivå</a:t>
            </a:r>
          </a:p>
          <a:p>
            <a:pPr lvl="3"/>
            <a:r>
              <a:rPr lang="en-US" noProof="0"/>
              <a:t>Fjerde nivå</a:t>
            </a:r>
          </a:p>
          <a:p>
            <a:pPr lvl="4"/>
            <a:r>
              <a:rPr lang="en-US" noProof="0"/>
              <a:t>Femte nivå</a:t>
            </a:r>
          </a:p>
        </p:txBody>
      </p:sp>
    </p:spTree>
    <p:extLst>
      <p:ext uri="{BB962C8B-B14F-4D97-AF65-F5344CB8AC3E}">
        <p14:creationId xmlns:p14="http://schemas.microsoft.com/office/powerpoint/2010/main" val="36329938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4263BB93-B846-4275-A02D-C39E6954A2C8}"/>
              </a:ext>
            </a:extLst>
          </p:cNvPr>
          <p:cNvSpPr>
            <a:spLocks noGrp="1"/>
          </p:cNvSpPr>
          <p:nvPr>
            <p:ph sz="half" idx="1"/>
          </p:nvPr>
        </p:nvSpPr>
        <p:spPr>
          <a:xfrm>
            <a:off x="1638676" y="1586867"/>
            <a:ext cx="6488530" cy="6425564"/>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F33E93AC-781D-40B3-97B2-A3B2856239A6}"/>
              </a:ext>
            </a:extLst>
          </p:cNvPr>
          <p:cNvSpPr>
            <a:spLocks noGrp="1"/>
          </p:cNvSpPr>
          <p:nvPr>
            <p:ph sz="half" idx="2"/>
          </p:nvPr>
        </p:nvSpPr>
        <p:spPr>
          <a:xfrm>
            <a:off x="8423910" y="1586867"/>
            <a:ext cx="6801057" cy="6425564"/>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tittel 1">
            <a:extLst>
              <a:ext uri="{FF2B5EF4-FFF2-40B4-BE49-F238E27FC236}">
                <a16:creationId xmlns:a16="http://schemas.microsoft.com/office/drawing/2014/main" id="{BDE1D5F7-ABB6-422F-BCAB-49F35068DD9A}"/>
              </a:ext>
            </a:extLst>
          </p:cNvPr>
          <p:cNvSpPr>
            <a:spLocks noGrp="1"/>
          </p:cNvSpPr>
          <p:nvPr>
            <p:ph type="title"/>
          </p:nvPr>
        </p:nvSpPr>
        <p:spPr>
          <a:xfrm>
            <a:off x="1638675" y="738008"/>
            <a:ext cx="13586294" cy="692497"/>
          </a:xfrm>
          <a:prstGeom prst="rect">
            <a:avLst/>
          </a:prstGeom>
        </p:spPr>
        <p:txBody>
          <a:bodyPr vert="horz" lIns="0" tIns="0" rIns="0" bIns="0" rtlCol="0" anchor="b" anchorCtr="0">
            <a:noAutofit/>
          </a:bodyPr>
          <a:lstStyle/>
          <a:p>
            <a:r>
              <a:rPr lang="nb-NO"/>
              <a:t>Klikk for å redigere tittelstil</a:t>
            </a:r>
          </a:p>
        </p:txBody>
      </p:sp>
    </p:spTree>
    <p:extLst>
      <p:ext uri="{BB962C8B-B14F-4D97-AF65-F5344CB8AC3E}">
        <p14:creationId xmlns:p14="http://schemas.microsoft.com/office/powerpoint/2010/main" val="42044311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73108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8"/>
            <a:ext cx="16254413" cy="9141965"/>
          </a:xfrm>
          <a:prstGeom prst="rect">
            <a:avLst/>
          </a:prstGeom>
        </p:spPr>
      </p:pic>
      <p:sp>
        <p:nvSpPr>
          <p:cNvPr id="6" name="Tittel 1"/>
          <p:cNvSpPr>
            <a:spLocks noGrp="1"/>
          </p:cNvSpPr>
          <p:nvPr>
            <p:ph type="title"/>
          </p:nvPr>
        </p:nvSpPr>
        <p:spPr>
          <a:xfrm>
            <a:off x="2365964" y="3681199"/>
            <a:ext cx="6120080" cy="1419611"/>
          </a:xfrm>
          <a:prstGeom prst="rect">
            <a:avLst/>
          </a:prstGeom>
        </p:spPr>
        <p:txBody>
          <a:bodyPr/>
          <a:lstStyle>
            <a:lvl1pPr>
              <a:defRPr>
                <a:solidFill>
                  <a:schemeClr val="bg1"/>
                </a:solidFill>
              </a:defRPr>
            </a:lvl1pPr>
          </a:lstStyle>
          <a:p>
            <a:r>
              <a:rPr lang="nb-NO"/>
              <a:t>Klikk for å redigere tittelstil</a:t>
            </a:r>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5964" y="600107"/>
            <a:ext cx="439149" cy="440948"/>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7999915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8"/>
            <a:ext cx="16254413" cy="9141965"/>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7207" y="4295661"/>
            <a:ext cx="1489437" cy="1495540"/>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userDrawn="1"/>
        </p:nvSpPr>
        <p:spPr>
          <a:xfrm>
            <a:off x="8054543" y="7302501"/>
            <a:ext cx="3048000" cy="1171731"/>
          </a:xfrm>
          <a:prstGeom prst="rect">
            <a:avLst/>
          </a:prstGeom>
          <a:noFill/>
        </p:spPr>
        <p:txBody>
          <a:bodyPr wrap="square" rtlCol="0">
            <a:spAutoFit/>
          </a:bodyPr>
          <a:lstStyle/>
          <a:p>
            <a:pPr>
              <a:lnSpc>
                <a:spcPct val="150000"/>
              </a:lnSpc>
              <a:spcBef>
                <a:spcPts val="0"/>
              </a:spcBef>
            </a:pPr>
            <a:r>
              <a:rPr lang="nb-NO" sz="1200" b="1">
                <a:solidFill>
                  <a:schemeClr val="bg1"/>
                </a:solidFill>
              </a:rPr>
              <a:t>Norwegian </a:t>
            </a:r>
            <a:r>
              <a:rPr lang="nb-NO" sz="1200" b="1" err="1">
                <a:solidFill>
                  <a:schemeClr val="bg1"/>
                </a:solidFill>
              </a:rPr>
              <a:t>Digitalisation</a:t>
            </a:r>
            <a:r>
              <a:rPr lang="nb-NO" sz="1200" b="1">
                <a:solidFill>
                  <a:schemeClr val="bg1"/>
                </a:solidFill>
              </a:rPr>
              <a:t> </a:t>
            </a:r>
            <a:r>
              <a:rPr lang="nb-NO" sz="1200" b="1" err="1">
                <a:solidFill>
                  <a:schemeClr val="bg1"/>
                </a:solidFill>
              </a:rPr>
              <a:t>Agency</a:t>
            </a:r>
            <a:endParaRPr lang="nb-NO" sz="1200" b="1">
              <a:solidFill>
                <a:schemeClr val="bg1"/>
              </a:solidFill>
            </a:endParaRPr>
          </a:p>
          <a:p>
            <a:pPr>
              <a:lnSpc>
                <a:spcPct val="150000"/>
              </a:lnSpc>
              <a:spcBef>
                <a:spcPts val="0"/>
              </a:spcBef>
            </a:pPr>
            <a:r>
              <a:rPr lang="nb-NO" sz="1200" b="0">
                <a:solidFill>
                  <a:schemeClr val="bg1"/>
                </a:solidFill>
              </a:rPr>
              <a:t>informasjonsforvaltning@digdir.no</a:t>
            </a:r>
          </a:p>
          <a:p>
            <a:pPr>
              <a:lnSpc>
                <a:spcPct val="150000"/>
              </a:lnSpc>
              <a:spcBef>
                <a:spcPts val="0"/>
              </a:spcBef>
            </a:pPr>
            <a:r>
              <a:rPr lang="nb-NO" sz="1200" b="0">
                <a:solidFill>
                  <a:schemeClr val="bg1"/>
                </a:solidFill>
              </a:rPr>
              <a:t>(+47) 22 45 10 00</a:t>
            </a:r>
          </a:p>
          <a:p>
            <a:pPr>
              <a:lnSpc>
                <a:spcPct val="150000"/>
              </a:lnSpc>
              <a:spcBef>
                <a:spcPts val="0"/>
              </a:spcBef>
            </a:pPr>
            <a:r>
              <a:rPr lang="nb-NO" sz="1200" b="0">
                <a:solidFill>
                  <a:schemeClr val="bg1"/>
                </a:solidFill>
              </a:rPr>
              <a:t>Postboks 1382 Vika, 0114 Oslo, Norway</a:t>
            </a:r>
          </a:p>
        </p:txBody>
      </p:sp>
      <p:sp>
        <p:nvSpPr>
          <p:cNvPr id="14" name="TekstSylinder 13">
            <a:extLst>
              <a:ext uri="{FF2B5EF4-FFF2-40B4-BE49-F238E27FC236}">
                <a16:creationId xmlns:a16="http://schemas.microsoft.com/office/drawing/2014/main" id="{60842A71-D675-4BCF-A694-A088EB0F8293}"/>
              </a:ext>
            </a:extLst>
          </p:cNvPr>
          <p:cNvSpPr txBox="1"/>
          <p:nvPr userDrawn="1"/>
        </p:nvSpPr>
        <p:spPr>
          <a:xfrm>
            <a:off x="3370783" y="8204985"/>
            <a:ext cx="3048000" cy="340734"/>
          </a:xfrm>
          <a:prstGeom prst="rect">
            <a:avLst/>
          </a:prstGeom>
          <a:noFill/>
        </p:spPr>
        <p:txBody>
          <a:bodyPr wrap="square" rtlCol="0">
            <a:spAutoFit/>
          </a:bodyPr>
          <a:lstStyle/>
          <a:p>
            <a:pPr>
              <a:lnSpc>
                <a:spcPct val="150000"/>
              </a:lnSpc>
              <a:spcBef>
                <a:spcPts val="0"/>
              </a:spcBef>
            </a:pPr>
            <a:r>
              <a:rPr lang="nb-NO" sz="1200" b="1">
                <a:solidFill>
                  <a:srgbClr val="1E2B3C"/>
                </a:solidFill>
              </a:rPr>
              <a:t>digdir.no</a:t>
            </a:r>
            <a:endParaRPr lang="nb-NO" sz="1200" b="0">
              <a:solidFill>
                <a:srgbClr val="1E2B3C"/>
              </a:solidFill>
            </a:endParaRPr>
          </a:p>
        </p:txBody>
      </p:sp>
      <p:pic>
        <p:nvPicPr>
          <p:cNvPr id="7" name="Bilde 6">
            <a:extLst>
              <a:ext uri="{FF2B5EF4-FFF2-40B4-BE49-F238E27FC236}">
                <a16:creationId xmlns:a16="http://schemas.microsoft.com/office/drawing/2014/main" id="{5A2D0DA4-F18E-47FE-A364-67BB5D8F70B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67277" y="7834318"/>
            <a:ext cx="2520545" cy="370668"/>
          </a:xfrm>
          <a:prstGeom prst="rect">
            <a:avLst/>
          </a:prstGeom>
        </p:spPr>
      </p:pic>
      <p:pic>
        <p:nvPicPr>
          <p:cNvPr id="8" name="Bilde 7">
            <a:extLst>
              <a:ext uri="{FF2B5EF4-FFF2-40B4-BE49-F238E27FC236}">
                <a16:creationId xmlns:a16="http://schemas.microsoft.com/office/drawing/2014/main" id="{F6D19948-E056-4D83-9C0E-8BF9C7E7907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329883" y="7146775"/>
            <a:ext cx="2065553" cy="698973"/>
          </a:xfrm>
          <a:prstGeom prst="rect">
            <a:avLst/>
          </a:prstGeom>
        </p:spPr>
      </p:pic>
    </p:spTree>
    <p:extLst>
      <p:ext uri="{BB962C8B-B14F-4D97-AF65-F5344CB8AC3E}">
        <p14:creationId xmlns:p14="http://schemas.microsoft.com/office/powerpoint/2010/main" val="512951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Kort Animert Introslide #1">
    <p:bg>
      <p:bgPr>
        <a:solidFill>
          <a:schemeClr val="lt1"/>
        </a:solidFill>
        <a:effectLst/>
      </p:bgPr>
    </p:bg>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0D159692-3117-4EE4-BD24-CF938AC3EC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7"/>
            <a:ext cx="16254413" cy="9143107"/>
          </a:xfrm>
          <a:prstGeom prst="rect">
            <a:avLst/>
          </a:prstGeom>
        </p:spPr>
      </p:pic>
      <p:sp>
        <p:nvSpPr>
          <p:cNvPr id="5" name="Tittel 1">
            <a:extLst>
              <a:ext uri="{FF2B5EF4-FFF2-40B4-BE49-F238E27FC236}">
                <a16:creationId xmlns:a16="http://schemas.microsoft.com/office/drawing/2014/main" id="{8E66857D-AB05-4B8C-B9AB-2849B89A6D6E}"/>
              </a:ext>
            </a:extLst>
          </p:cNvPr>
          <p:cNvSpPr>
            <a:spLocks noGrp="1"/>
          </p:cNvSpPr>
          <p:nvPr>
            <p:ph type="ctrTitle" hasCustomPrompt="1"/>
          </p:nvPr>
        </p:nvSpPr>
        <p:spPr>
          <a:xfrm>
            <a:off x="5463540" y="4093405"/>
            <a:ext cx="9864090" cy="1530351"/>
          </a:xfrm>
          <a:prstGeom prst="rect">
            <a:avLst/>
          </a:prstGeom>
        </p:spPr>
        <p:txBody>
          <a:bodyPr anchor="b">
            <a:normAutofit/>
          </a:bodyPr>
          <a:lstStyle>
            <a:lvl1pPr algn="l">
              <a:lnSpc>
                <a:spcPct val="100000"/>
              </a:lnSpc>
              <a:defRPr sz="5000">
                <a:solidFill>
                  <a:schemeClr val="bg1"/>
                </a:solidFill>
              </a:defRPr>
            </a:lvl1pPr>
          </a:lstStyle>
          <a:p>
            <a:r>
              <a:rPr lang="nb-NO"/>
              <a:t>Klikk for å legge til en tittel</a:t>
            </a:r>
          </a:p>
        </p:txBody>
      </p:sp>
      <p:pic>
        <p:nvPicPr>
          <p:cNvPr id="6" name="Bilde 5">
            <a:extLst>
              <a:ext uri="{FF2B5EF4-FFF2-40B4-BE49-F238E27FC236}">
                <a16:creationId xmlns:a16="http://schemas.microsoft.com/office/drawing/2014/main" id="{48B100D4-36B9-4694-B36A-B0B707102D7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
        <p:nvSpPr>
          <p:cNvPr id="7" name="TextBox 6">
            <a:extLst>
              <a:ext uri="{FF2B5EF4-FFF2-40B4-BE49-F238E27FC236}">
                <a16:creationId xmlns:a16="http://schemas.microsoft.com/office/drawing/2014/main" id="{7EB7E1F6-B752-431B-89D1-0A4284E29642}"/>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
        <p:nvSpPr>
          <p:cNvPr id="8" name="Undertittel 2">
            <a:extLst>
              <a:ext uri="{FF2B5EF4-FFF2-40B4-BE49-F238E27FC236}">
                <a16:creationId xmlns:a16="http://schemas.microsoft.com/office/drawing/2014/main" id="{48213E2A-0B1C-488B-81D1-6965EBDF2289}"/>
              </a:ext>
            </a:extLst>
          </p:cNvPr>
          <p:cNvSpPr>
            <a:spLocks noGrp="1"/>
          </p:cNvSpPr>
          <p:nvPr>
            <p:ph type="subTitle" idx="1"/>
          </p:nvPr>
        </p:nvSpPr>
        <p:spPr>
          <a:xfrm>
            <a:off x="5463541" y="5857673"/>
            <a:ext cx="6229350" cy="1235392"/>
          </a:xfrm>
        </p:spPr>
        <p:txBody>
          <a:bodyPr>
            <a:normAutofit/>
          </a:bodyPr>
          <a:lstStyle>
            <a:lvl1pPr marL="0" indent="0" algn="l">
              <a:buNone/>
              <a:defRPr sz="3200">
                <a:solidFill>
                  <a:schemeClr val="bg1"/>
                </a:solidFill>
              </a:defRPr>
            </a:lvl1pPr>
          </a:lstStyle>
          <a:p>
            <a:endParaRPr lang="nb-NO"/>
          </a:p>
        </p:txBody>
      </p:sp>
    </p:spTree>
    <p:extLst>
      <p:ext uri="{BB962C8B-B14F-4D97-AF65-F5344CB8AC3E}">
        <p14:creationId xmlns:p14="http://schemas.microsoft.com/office/powerpoint/2010/main" val="2965010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139.xml"/><Relationship Id="rId1" Type="http://schemas.openxmlformats.org/officeDocument/2006/relationships/slideLayout" Target="../slideLayouts/slideLayout13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oleObject" Target="../embeddings/oleObject2.bin"/><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tags" Target="../tags/tag2.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theme" Target="../theme/theme12.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image" Target="../media/image1.png"/><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image" Target="../media/image26.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1.png"/><Relationship Id="rId5" Type="http://schemas.openxmlformats.org/officeDocument/2006/relationships/slideLayout" Target="../slideLayouts/slideLayout26.xml"/><Relationship Id="rId10" Type="http://schemas.openxmlformats.org/officeDocument/2006/relationships/theme" Target="../theme/theme2.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png"/><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theme" Target="../theme/theme5.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image" Target="../media/image1.png"/><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image" Target="../media/image26.emf"/><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oleObject" Target="../embeddings/oleObject1.bin"/><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image" Target="../media/image1.png"/><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theme" Target="../theme/theme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image" Target="../media/image1.png"/><Relationship Id="rId5" Type="http://schemas.openxmlformats.org/officeDocument/2006/relationships/slideLayout" Target="../slideLayouts/slideLayout97.xml"/><Relationship Id="rId10" Type="http://schemas.openxmlformats.org/officeDocument/2006/relationships/theme" Target="../theme/theme7.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theme" Target="../theme/theme8.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dirty="0"/>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716" r:id="rId1"/>
    <p:sldLayoutId id="2147483707" r:id="rId2"/>
    <p:sldLayoutId id="2147483717" r:id="rId3"/>
    <p:sldLayoutId id="2147483713" r:id="rId4"/>
    <p:sldLayoutId id="2147483721" r:id="rId5"/>
    <p:sldLayoutId id="2147483720" r:id="rId6"/>
    <p:sldLayoutId id="2147483719" r:id="rId7"/>
    <p:sldLayoutId id="2147483718" r:id="rId8"/>
    <p:sldLayoutId id="2147483735" r:id="rId9"/>
    <p:sldLayoutId id="2147483736" r:id="rId10"/>
    <p:sldLayoutId id="2147483737" r:id="rId11"/>
    <p:sldLayoutId id="2147483650" r:id="rId12"/>
    <p:sldLayoutId id="2147483652" r:id="rId13"/>
    <p:sldLayoutId id="2147483657" r:id="rId14"/>
    <p:sldLayoutId id="2147483656" r:id="rId15"/>
    <p:sldLayoutId id="2147483669" r:id="rId16"/>
    <p:sldLayoutId id="2147483658" r:id="rId17"/>
    <p:sldLayoutId id="2147483659" r:id="rId18"/>
    <p:sldLayoutId id="2147483722" r:id="rId19"/>
    <p:sldLayoutId id="2147483651" r:id="rId20"/>
    <p:sldLayoutId id="2147483671" r:id="rId2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52288660-D4FD-3148-8606-7AB1F510BC29}"/>
              </a:ext>
            </a:extLst>
          </p:cNvPr>
          <p:cNvSpPr>
            <a:spLocks noGrp="1"/>
          </p:cNvSpPr>
          <p:nvPr>
            <p:ph type="title"/>
          </p:nvPr>
        </p:nvSpPr>
        <p:spPr>
          <a:xfrm>
            <a:off x="1117491" y="486836"/>
            <a:ext cx="14019431" cy="1767417"/>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BA4BCB6C-22FB-270F-60E7-FC4224F0CEFB}"/>
              </a:ext>
            </a:extLst>
          </p:cNvPr>
          <p:cNvSpPr>
            <a:spLocks noGrp="1"/>
          </p:cNvSpPr>
          <p:nvPr>
            <p:ph type="body" idx="1"/>
          </p:nvPr>
        </p:nvSpPr>
        <p:spPr>
          <a:xfrm>
            <a:off x="1117491" y="2434167"/>
            <a:ext cx="14019431" cy="5801784"/>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45D8787A-3742-319F-894E-C4B12424BF34}"/>
              </a:ext>
            </a:extLst>
          </p:cNvPr>
          <p:cNvSpPr>
            <a:spLocks noGrp="1"/>
          </p:cNvSpPr>
          <p:nvPr>
            <p:ph type="dt" sz="half" idx="2"/>
          </p:nvPr>
        </p:nvSpPr>
        <p:spPr>
          <a:xfrm>
            <a:off x="1117491" y="8475136"/>
            <a:ext cx="3657243" cy="486833"/>
          </a:xfrm>
          <a:prstGeom prst="rect">
            <a:avLst/>
          </a:prstGeom>
        </p:spPr>
        <p:txBody>
          <a:bodyPr vert="horz" lIns="91440" tIns="45720" rIns="91440" bIns="45720" rtlCol="0" anchor="ctr"/>
          <a:lstStyle>
            <a:lvl1pPr algn="l">
              <a:defRPr sz="1600">
                <a:solidFill>
                  <a:schemeClr val="tx1">
                    <a:tint val="82000"/>
                  </a:schemeClr>
                </a:solidFill>
              </a:defRPr>
            </a:lvl1pPr>
          </a:lstStyle>
          <a:p>
            <a:fld id="{53E431BC-4325-458D-BC4B-AB85F0605FE6}" type="datetimeFigureOut">
              <a:rPr lang="nb-NO" smtClean="0"/>
              <a:t>05.11.2024</a:t>
            </a:fld>
            <a:endParaRPr lang="nb-NO"/>
          </a:p>
        </p:txBody>
      </p:sp>
      <p:sp>
        <p:nvSpPr>
          <p:cNvPr id="5" name="Plassholder for bunntekst 4">
            <a:extLst>
              <a:ext uri="{FF2B5EF4-FFF2-40B4-BE49-F238E27FC236}">
                <a16:creationId xmlns:a16="http://schemas.microsoft.com/office/drawing/2014/main" id="{EDB40811-FDD0-4BBF-487E-EDCF695E64D2}"/>
              </a:ext>
            </a:extLst>
          </p:cNvPr>
          <p:cNvSpPr>
            <a:spLocks noGrp="1"/>
          </p:cNvSpPr>
          <p:nvPr>
            <p:ph type="ftr" sz="quarter" idx="3"/>
          </p:nvPr>
        </p:nvSpPr>
        <p:spPr>
          <a:xfrm>
            <a:off x="5384275" y="8475136"/>
            <a:ext cx="5485864" cy="486833"/>
          </a:xfrm>
          <a:prstGeom prst="rect">
            <a:avLst/>
          </a:prstGeom>
        </p:spPr>
        <p:txBody>
          <a:bodyPr vert="horz" lIns="91440" tIns="45720" rIns="91440" bIns="45720" rtlCol="0" anchor="ctr"/>
          <a:lstStyle>
            <a:lvl1pPr algn="ctr">
              <a:defRPr sz="1600">
                <a:solidFill>
                  <a:schemeClr val="tx1">
                    <a:tint val="82000"/>
                  </a:schemeClr>
                </a:solidFill>
              </a:defRPr>
            </a:lvl1pPr>
          </a:lstStyle>
          <a:p>
            <a:endParaRPr lang="nb-NO"/>
          </a:p>
        </p:txBody>
      </p:sp>
      <p:sp>
        <p:nvSpPr>
          <p:cNvPr id="6" name="Plassholder for lysbildenummer 5">
            <a:extLst>
              <a:ext uri="{FF2B5EF4-FFF2-40B4-BE49-F238E27FC236}">
                <a16:creationId xmlns:a16="http://schemas.microsoft.com/office/drawing/2014/main" id="{48C1192B-E005-FAA0-CFCC-3E6E728EEF76}"/>
              </a:ext>
            </a:extLst>
          </p:cNvPr>
          <p:cNvSpPr>
            <a:spLocks noGrp="1"/>
          </p:cNvSpPr>
          <p:nvPr>
            <p:ph type="sldNum" sz="quarter" idx="4"/>
          </p:nvPr>
        </p:nvSpPr>
        <p:spPr>
          <a:xfrm>
            <a:off x="11479679" y="8475136"/>
            <a:ext cx="3657243" cy="486833"/>
          </a:xfrm>
          <a:prstGeom prst="rect">
            <a:avLst/>
          </a:prstGeom>
        </p:spPr>
        <p:txBody>
          <a:bodyPr vert="horz" lIns="91440" tIns="45720" rIns="91440" bIns="45720" rtlCol="0" anchor="ctr"/>
          <a:lstStyle>
            <a:lvl1pPr algn="r">
              <a:defRPr sz="1600">
                <a:solidFill>
                  <a:schemeClr val="tx1">
                    <a:tint val="82000"/>
                  </a:schemeClr>
                </a:solidFill>
              </a:defRPr>
            </a:lvl1pPr>
          </a:lstStyle>
          <a:p>
            <a:fld id="{D58B84C8-683B-43CF-BFDA-59B38BD4F3CE}" type="slidenum">
              <a:rPr lang="nb-NO" smtClean="0"/>
              <a:t>‹#›</a:t>
            </a:fld>
            <a:endParaRPr lang="nb-NO"/>
          </a:p>
        </p:txBody>
      </p:sp>
    </p:spTree>
    <p:extLst>
      <p:ext uri="{BB962C8B-B14F-4D97-AF65-F5344CB8AC3E}">
        <p14:creationId xmlns:p14="http://schemas.microsoft.com/office/powerpoint/2010/main" val="4202454730"/>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Lst>
  <p:txStyles>
    <p:titleStyle>
      <a:lvl1pPr algn="l" defTabSz="1218957" rtl="0" eaLnBrk="1" latinLnBrk="0" hangingPunct="1">
        <a:lnSpc>
          <a:spcPct val="90000"/>
        </a:lnSpc>
        <a:spcBef>
          <a:spcPct val="0"/>
        </a:spcBef>
        <a:buNone/>
        <a:defRPr sz="5866" kern="1200">
          <a:solidFill>
            <a:schemeClr val="tx1"/>
          </a:solidFill>
          <a:latin typeface="+mj-lt"/>
          <a:ea typeface="+mj-ea"/>
          <a:cs typeface="+mj-cs"/>
        </a:defRPr>
      </a:lvl1pPr>
    </p:titleStyle>
    <p:bodyStyle>
      <a:lvl1pPr marL="304740" indent="-304740" algn="l" defTabSz="1218957"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218" indent="-304740" algn="l" defTabSz="1218957"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696" indent="-304740" algn="l" defTabSz="1218957" rtl="0" eaLnBrk="1" latinLnBrk="0" hangingPunct="1">
        <a:lnSpc>
          <a:spcPct val="90000"/>
        </a:lnSpc>
        <a:spcBef>
          <a:spcPts val="667"/>
        </a:spcBef>
        <a:buFont typeface="Arial" panose="020B0604020202020204" pitchFamily="34" charset="0"/>
        <a:buChar char="•"/>
        <a:defRPr sz="2666" kern="1200">
          <a:solidFill>
            <a:schemeClr val="tx1"/>
          </a:solidFill>
          <a:latin typeface="+mn-lt"/>
          <a:ea typeface="+mn-ea"/>
          <a:cs typeface="+mn-cs"/>
        </a:defRPr>
      </a:lvl3pPr>
      <a:lvl4pPr marL="2133173" indent="-304740" algn="l" defTabSz="1218957"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2652" indent="-304740" algn="l" defTabSz="1218957"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130" indent="-304740" algn="l" defTabSz="1218957"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1608" indent="-304740" algn="l" defTabSz="1218957"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086" indent="-304740" algn="l" defTabSz="1218957"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0565" indent="-304740" algn="l" defTabSz="1218957"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8957" rtl="0" eaLnBrk="1" latinLnBrk="0" hangingPunct="1">
        <a:defRPr sz="2400" kern="1200">
          <a:solidFill>
            <a:schemeClr val="tx1"/>
          </a:solidFill>
          <a:latin typeface="+mn-lt"/>
          <a:ea typeface="+mn-ea"/>
          <a:cs typeface="+mn-cs"/>
        </a:defRPr>
      </a:lvl1pPr>
      <a:lvl2pPr marL="609478" algn="l" defTabSz="1218957" rtl="0" eaLnBrk="1" latinLnBrk="0" hangingPunct="1">
        <a:defRPr sz="2400" kern="1200">
          <a:solidFill>
            <a:schemeClr val="tx1"/>
          </a:solidFill>
          <a:latin typeface="+mn-lt"/>
          <a:ea typeface="+mn-ea"/>
          <a:cs typeface="+mn-cs"/>
        </a:defRPr>
      </a:lvl2pPr>
      <a:lvl3pPr marL="1218957" algn="l" defTabSz="1218957" rtl="0" eaLnBrk="1" latinLnBrk="0" hangingPunct="1">
        <a:defRPr sz="2400" kern="1200">
          <a:solidFill>
            <a:schemeClr val="tx1"/>
          </a:solidFill>
          <a:latin typeface="+mn-lt"/>
          <a:ea typeface="+mn-ea"/>
          <a:cs typeface="+mn-cs"/>
        </a:defRPr>
      </a:lvl3pPr>
      <a:lvl4pPr marL="1828434" algn="l" defTabSz="1218957" rtl="0" eaLnBrk="1" latinLnBrk="0" hangingPunct="1">
        <a:defRPr sz="2400" kern="1200">
          <a:solidFill>
            <a:schemeClr val="tx1"/>
          </a:solidFill>
          <a:latin typeface="+mn-lt"/>
          <a:ea typeface="+mn-ea"/>
          <a:cs typeface="+mn-cs"/>
        </a:defRPr>
      </a:lvl4pPr>
      <a:lvl5pPr marL="2437912" algn="l" defTabSz="1218957" rtl="0" eaLnBrk="1" latinLnBrk="0" hangingPunct="1">
        <a:defRPr sz="2400" kern="1200">
          <a:solidFill>
            <a:schemeClr val="tx1"/>
          </a:solidFill>
          <a:latin typeface="+mn-lt"/>
          <a:ea typeface="+mn-ea"/>
          <a:cs typeface="+mn-cs"/>
        </a:defRPr>
      </a:lvl5pPr>
      <a:lvl6pPr marL="3047390" algn="l" defTabSz="1218957" rtl="0" eaLnBrk="1" latinLnBrk="0" hangingPunct="1">
        <a:defRPr sz="2400" kern="1200">
          <a:solidFill>
            <a:schemeClr val="tx1"/>
          </a:solidFill>
          <a:latin typeface="+mn-lt"/>
          <a:ea typeface="+mn-ea"/>
          <a:cs typeface="+mn-cs"/>
        </a:defRPr>
      </a:lvl6pPr>
      <a:lvl7pPr marL="3656869" algn="l" defTabSz="1218957" rtl="0" eaLnBrk="1" latinLnBrk="0" hangingPunct="1">
        <a:defRPr sz="2400" kern="1200">
          <a:solidFill>
            <a:schemeClr val="tx1"/>
          </a:solidFill>
          <a:latin typeface="+mn-lt"/>
          <a:ea typeface="+mn-ea"/>
          <a:cs typeface="+mn-cs"/>
        </a:defRPr>
      </a:lvl7pPr>
      <a:lvl8pPr marL="4266347" algn="l" defTabSz="1218957" rtl="0" eaLnBrk="1" latinLnBrk="0" hangingPunct="1">
        <a:defRPr sz="2400" kern="1200">
          <a:solidFill>
            <a:schemeClr val="tx1"/>
          </a:solidFill>
          <a:latin typeface="+mn-lt"/>
          <a:ea typeface="+mn-ea"/>
          <a:cs typeface="+mn-cs"/>
        </a:defRPr>
      </a:lvl8pPr>
      <a:lvl9pPr marL="4875824" algn="l" defTabSz="1218957"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CEB02131-22DB-4754-A433-C2056EBF56D5}"/>
              </a:ext>
            </a:extLst>
          </p:cNvPr>
          <p:cNvSpPr>
            <a:spLocks noGrp="1"/>
          </p:cNvSpPr>
          <p:nvPr>
            <p:ph type="title"/>
          </p:nvPr>
        </p:nvSpPr>
        <p:spPr>
          <a:xfrm>
            <a:off x="575944" y="576000"/>
            <a:ext cx="15118524" cy="720000"/>
          </a:xfrm>
          <a:prstGeom prst="rect">
            <a:avLst/>
          </a:prstGeom>
        </p:spPr>
        <p:txBody>
          <a:bodyPr vert="horz" lIns="0" tIns="0" rIns="0" bIns="0" rtlCol="0" anchor="t">
            <a:normAutofit/>
          </a:bodyPr>
          <a:lstStyle/>
          <a:p>
            <a:pPr rtl="0"/>
            <a:r>
              <a:rPr lang="nb-NO"/>
              <a:t>Klikk for å redigere tittelstil i malen</a:t>
            </a:r>
          </a:p>
        </p:txBody>
      </p:sp>
      <p:sp>
        <p:nvSpPr>
          <p:cNvPr id="3" name="Plassholder for tekst 2">
            <a:extLst>
              <a:ext uri="{FF2B5EF4-FFF2-40B4-BE49-F238E27FC236}">
                <a16:creationId xmlns:a16="http://schemas.microsoft.com/office/drawing/2014/main" id="{C0150D3D-41CA-4DC7-907E-3C00ACD28A37}"/>
              </a:ext>
            </a:extLst>
          </p:cNvPr>
          <p:cNvSpPr>
            <a:spLocks noGrp="1"/>
          </p:cNvSpPr>
          <p:nvPr>
            <p:ph type="body" idx="1"/>
          </p:nvPr>
        </p:nvSpPr>
        <p:spPr>
          <a:xfrm>
            <a:off x="575943" y="1632000"/>
            <a:ext cx="15118523" cy="6478331"/>
          </a:xfrm>
          <a:prstGeom prst="rect">
            <a:avLst/>
          </a:prstGeom>
        </p:spPr>
        <p:txBody>
          <a:bodyPr vert="horz" lIns="91440" tIns="45720" rIns="91440" bIns="45720" rtlCol="0">
            <a:normAutofit/>
          </a:bodyPr>
          <a:lstStyle/>
          <a:p>
            <a:pPr lvl="0" rtl="0"/>
            <a:r>
              <a:rPr lang="nb-NO"/>
              <a:t>Klikk for å redigere tekststiler</a:t>
            </a:r>
          </a:p>
          <a:p>
            <a:pPr lvl="1" rtl="0"/>
            <a:r>
              <a:rPr lang="nb-NO"/>
              <a:t>Andre nivå</a:t>
            </a:r>
          </a:p>
          <a:p>
            <a:pPr lvl="2" rtl="0"/>
            <a:r>
              <a:rPr lang="nb-NO"/>
              <a:t>Tredje nivå</a:t>
            </a:r>
          </a:p>
          <a:p>
            <a:pPr lvl="3" rtl="0"/>
            <a:r>
              <a:rPr lang="nb-NO"/>
              <a:t>Fjerde nivå</a:t>
            </a:r>
          </a:p>
          <a:p>
            <a:pPr lvl="4" rtl="0"/>
            <a:r>
              <a:rPr lang="nb-NO"/>
              <a:t>Femte nivå</a:t>
            </a:r>
          </a:p>
        </p:txBody>
      </p:sp>
      <p:sp>
        <p:nvSpPr>
          <p:cNvPr id="5" name="Plassholder for bunntekst 4">
            <a:extLst>
              <a:ext uri="{FF2B5EF4-FFF2-40B4-BE49-F238E27FC236}">
                <a16:creationId xmlns:a16="http://schemas.microsoft.com/office/drawing/2014/main" id="{7806C7A0-E91C-4A95-B866-B5D3FEE09319}"/>
              </a:ext>
            </a:extLst>
          </p:cNvPr>
          <p:cNvSpPr>
            <a:spLocks noGrp="1"/>
          </p:cNvSpPr>
          <p:nvPr>
            <p:ph type="ftr" sz="quarter" idx="3"/>
          </p:nvPr>
        </p:nvSpPr>
        <p:spPr>
          <a:xfrm>
            <a:off x="575943" y="8475134"/>
            <a:ext cx="5485864" cy="486833"/>
          </a:xfrm>
          <a:prstGeom prst="rect">
            <a:avLst/>
          </a:prstGeom>
        </p:spPr>
        <p:txBody>
          <a:bodyPr vert="horz" lIns="91440" tIns="45720" rIns="91440" bIns="45720" rtlCol="0" anchor="ctr"/>
          <a:lstStyle>
            <a:lvl1pPr algn="l">
              <a:defRPr sz="1600">
                <a:solidFill>
                  <a:schemeClr val="tx1">
                    <a:tint val="75000"/>
                  </a:schemeClr>
                </a:solidFill>
                <a:latin typeface="Trebuchet MS" panose="020B0603020202020204" pitchFamily="34" charset="0"/>
              </a:defRPr>
            </a:lvl1pPr>
          </a:lstStyle>
          <a:p>
            <a:endParaRPr lang="nb-NO"/>
          </a:p>
        </p:txBody>
      </p:sp>
      <p:sp>
        <p:nvSpPr>
          <p:cNvPr id="6" name="Plassholder for lysbildenummer 5">
            <a:extLst>
              <a:ext uri="{FF2B5EF4-FFF2-40B4-BE49-F238E27FC236}">
                <a16:creationId xmlns:a16="http://schemas.microsoft.com/office/drawing/2014/main" id="{42F51BA1-B199-498E-8F99-F7D1F5869B9F}"/>
              </a:ext>
            </a:extLst>
          </p:cNvPr>
          <p:cNvSpPr>
            <a:spLocks noGrp="1"/>
          </p:cNvSpPr>
          <p:nvPr>
            <p:ph type="sldNum" sz="quarter" idx="4"/>
          </p:nvPr>
        </p:nvSpPr>
        <p:spPr>
          <a:xfrm>
            <a:off x="12037222" y="8475134"/>
            <a:ext cx="3657243" cy="486833"/>
          </a:xfrm>
          <a:prstGeom prst="rect">
            <a:avLst/>
          </a:prstGeom>
        </p:spPr>
        <p:txBody>
          <a:bodyPr vert="horz" lIns="91440" tIns="45720" rIns="91440" bIns="45720" rtlCol="0" anchor="ctr"/>
          <a:lstStyle>
            <a:lvl1pPr algn="r">
              <a:defRPr sz="1600">
                <a:solidFill>
                  <a:schemeClr val="tx1">
                    <a:tint val="75000"/>
                  </a:schemeClr>
                </a:solidFill>
                <a:latin typeface="Trebuchet MS" panose="020B0603020202020204" pitchFamily="34" charset="0"/>
              </a:defRPr>
            </a:lvl1pPr>
          </a:lstStyle>
          <a:p>
            <a:fld id="{83ADE164-D45A-44D8-82C5-2E0962BB70DA}" type="slidenum">
              <a:rPr lang="nb-NO" smtClean="0"/>
              <a:pPr/>
              <a:t>‹#›</a:t>
            </a:fld>
            <a:endParaRPr lang="nb-NO"/>
          </a:p>
        </p:txBody>
      </p:sp>
    </p:spTree>
    <p:extLst>
      <p:ext uri="{BB962C8B-B14F-4D97-AF65-F5344CB8AC3E}">
        <p14:creationId xmlns:p14="http://schemas.microsoft.com/office/powerpoint/2010/main" val="2767321980"/>
      </p:ext>
    </p:extLst>
  </p:cSld>
  <p:clrMap bg1="lt1" tx1="dk1" bg2="lt2" tx2="dk2" accent1="accent1" accent2="accent2" accent3="accent3" accent4="accent4" accent5="accent5" accent6="accent6" hlink="hlink" folHlink="folHlink"/>
  <p:sldLayoutIdLst>
    <p:sldLayoutId id="2147483859" r:id="rId1"/>
    <p:sldLayoutId id="2147483860" r:id="rId2"/>
  </p:sldLayoutIdLst>
  <p:txStyles>
    <p:titleStyle>
      <a:lvl1pPr algn="l" defTabSz="1219078" rtl="0" eaLnBrk="1" latinLnBrk="0" hangingPunct="1">
        <a:lnSpc>
          <a:spcPct val="90000"/>
        </a:lnSpc>
        <a:spcBef>
          <a:spcPct val="0"/>
        </a:spcBef>
        <a:buNone/>
        <a:defRPr sz="4266" kern="1200">
          <a:solidFill>
            <a:schemeClr val="tx1"/>
          </a:solidFill>
          <a:latin typeface="Trebuchet MS" panose="020B0603020202020204" pitchFamily="34" charset="0"/>
          <a:ea typeface="+mj-ea"/>
          <a:cs typeface="+mj-cs"/>
        </a:defRPr>
      </a:lvl1pPr>
    </p:titleStyle>
    <p:bodyStyle>
      <a:lvl1pPr marL="304770" indent="-304770" algn="l" defTabSz="1219078" rtl="0" eaLnBrk="1" latinLnBrk="0" hangingPunct="1">
        <a:lnSpc>
          <a:spcPct val="90000"/>
        </a:lnSpc>
        <a:spcBef>
          <a:spcPts val="1333"/>
        </a:spcBef>
        <a:buFont typeface="Arial" panose="020B0604020202020204" pitchFamily="34" charset="0"/>
        <a:buChar char="•"/>
        <a:defRPr sz="3733" kern="1200">
          <a:solidFill>
            <a:schemeClr val="tx1"/>
          </a:solidFill>
          <a:latin typeface="Trebuchet MS" panose="020B0603020202020204" pitchFamily="34" charset="0"/>
          <a:ea typeface="+mn-ea"/>
          <a:cs typeface="+mn-cs"/>
        </a:defRPr>
      </a:lvl1pPr>
      <a:lvl2pPr marL="914309" indent="-304770" algn="l" defTabSz="1219078" rtl="0" eaLnBrk="1" latinLnBrk="0" hangingPunct="1">
        <a:lnSpc>
          <a:spcPct val="90000"/>
        </a:lnSpc>
        <a:spcBef>
          <a:spcPts val="667"/>
        </a:spcBef>
        <a:buFont typeface="Arial" panose="020B0604020202020204" pitchFamily="34" charset="0"/>
        <a:buChar char="•"/>
        <a:defRPr sz="3200" kern="1200">
          <a:solidFill>
            <a:schemeClr val="tx1"/>
          </a:solidFill>
          <a:latin typeface="Trebuchet MS" panose="020B0603020202020204" pitchFamily="34" charset="0"/>
          <a:ea typeface="+mn-ea"/>
          <a:cs typeface="+mn-cs"/>
        </a:defRPr>
      </a:lvl2pPr>
      <a:lvl3pPr marL="1523848" indent="-304770" algn="l" defTabSz="1219078" rtl="0" eaLnBrk="1" latinLnBrk="0" hangingPunct="1">
        <a:lnSpc>
          <a:spcPct val="90000"/>
        </a:lnSpc>
        <a:spcBef>
          <a:spcPts val="667"/>
        </a:spcBef>
        <a:buFont typeface="Arial" panose="020B0604020202020204" pitchFamily="34" charset="0"/>
        <a:buChar char="•"/>
        <a:defRPr sz="2666" kern="1200">
          <a:solidFill>
            <a:schemeClr val="tx1"/>
          </a:solidFill>
          <a:latin typeface="Trebuchet MS" panose="020B0603020202020204" pitchFamily="34" charset="0"/>
          <a:ea typeface="+mn-ea"/>
          <a:cs typeface="+mn-cs"/>
        </a:defRPr>
      </a:lvl3pPr>
      <a:lvl4pPr marL="2133387"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4pPr>
      <a:lvl5pPr marL="2742926"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5pPr>
      <a:lvl6pPr marL="3352465"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04"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43"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082"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25A59A-4922-4F20-A171-8C3E187CC4F9}"/>
              </a:ext>
            </a:extLst>
          </p:cNvPr>
          <p:cNvGraphicFramePr>
            <a:graphicFrameLocks noChangeAspect="1"/>
          </p:cNvGraphicFramePr>
          <p:nvPr>
            <p:custDataLst>
              <p:tags r:id="rId25"/>
            </p:custDataLst>
            <p:extLst>
              <p:ext uri="{D42A27DB-BD31-4B8C-83A1-F6EECF244321}">
                <p14:modId xmlns:p14="http://schemas.microsoft.com/office/powerpoint/2010/main" val="358700681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26" imgW="473" imgH="476" progId="TCLayout.ActiveDocument.1">
                  <p:embed/>
                </p:oleObj>
              </mc:Choice>
              <mc:Fallback>
                <p:oleObj name="think-cell Slide" r:id="rId26" imgW="473" imgH="476" progId="TCLayout.ActiveDocument.1">
                  <p:embed/>
                  <p:pic>
                    <p:nvPicPr>
                      <p:cNvPr id="5" name="Object 4" hidden="1">
                        <a:extLst>
                          <a:ext uri="{FF2B5EF4-FFF2-40B4-BE49-F238E27FC236}">
                            <a16:creationId xmlns:a16="http://schemas.microsoft.com/office/drawing/2014/main" id="{4625A59A-4922-4F20-A171-8C3E187CC4F9}"/>
                          </a:ext>
                        </a:extLst>
                      </p:cNvPr>
                      <p:cNvPicPr/>
                      <p:nvPr/>
                    </p:nvPicPr>
                    <p:blipFill>
                      <a:blip r:embed="rId27"/>
                      <a:stretch>
                        <a:fillRect/>
                      </a:stretch>
                    </p:blipFill>
                    <p:spPr>
                      <a:xfrm>
                        <a:off x="1588" y="1589"/>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1069976" y="1269601"/>
            <a:ext cx="14114462" cy="692497"/>
          </a:xfrm>
          <a:prstGeom prst="rect">
            <a:avLst/>
          </a:prstGeom>
        </p:spPr>
        <p:txBody>
          <a:bodyPr vert="horz" lIns="0" tIns="0" rIns="0" bIns="0" rtlCol="0" anchor="t" anchorCtr="0">
            <a:noAutofit/>
          </a:bodyPr>
          <a:lstStyle/>
          <a:p>
            <a:r>
              <a:rPr lang="nb-NO"/>
              <a:t>Klikk for å redigere tittelstil</a:t>
            </a:r>
          </a:p>
        </p:txBody>
      </p:sp>
      <p:sp>
        <p:nvSpPr>
          <p:cNvPr id="3" name="Plassholder for tekst 2"/>
          <p:cNvSpPr>
            <a:spLocks noGrp="1"/>
          </p:cNvSpPr>
          <p:nvPr>
            <p:ph type="body" idx="1"/>
          </p:nvPr>
        </p:nvSpPr>
        <p:spPr>
          <a:xfrm>
            <a:off x="1069976" y="2484438"/>
            <a:ext cx="14114462" cy="5940425"/>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TextBox 6">
            <a:extLst>
              <a:ext uri="{FF2B5EF4-FFF2-40B4-BE49-F238E27FC236}">
                <a16:creationId xmlns:a16="http://schemas.microsoft.com/office/drawing/2014/main" id="{7DA5B237-216F-496A-9C1D-773EFC9118DD}"/>
              </a:ext>
            </a:extLst>
          </p:cNvPr>
          <p:cNvSpPr txBox="1"/>
          <p:nvPr/>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853626DF-7616-43D7-A7D7-239DC253BB15}"/>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778285" y="469287"/>
            <a:ext cx="2065553" cy="698973"/>
          </a:xfrm>
          <a:prstGeom prst="rect">
            <a:avLst/>
          </a:prstGeom>
        </p:spPr>
      </p:pic>
    </p:spTree>
    <p:extLst>
      <p:ext uri="{BB962C8B-B14F-4D97-AF65-F5344CB8AC3E}">
        <p14:creationId xmlns:p14="http://schemas.microsoft.com/office/powerpoint/2010/main" val="59001196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Lst>
  <mc:AlternateContent xmlns:mc="http://schemas.openxmlformats.org/markup-compatibility/2006" xmlns:p14="http://schemas.microsoft.com/office/powerpoint/2010/main">
    <mc:Choice Requires="p14">
      <p:transition p14:dur="10"/>
    </mc:Choice>
    <mc:Fallback xmlns="">
      <p:transition/>
    </mc:Fallback>
  </mc:AlternateContent>
  <p:hf hdr="0" ftr="0"/>
  <p:txStyles>
    <p:titleStyle>
      <a:lvl1pPr algn="l" defTabSz="1218963" rtl="0" eaLnBrk="1" latinLnBrk="0" hangingPunct="1">
        <a:lnSpc>
          <a:spcPct val="90000"/>
        </a:lnSpc>
        <a:spcBef>
          <a:spcPct val="0"/>
        </a:spcBef>
        <a:buNone/>
        <a:defRPr sz="4000" kern="1200">
          <a:solidFill>
            <a:schemeClr val="dk2"/>
          </a:solidFill>
          <a:latin typeface="+mj-lt"/>
          <a:ea typeface="+mj-ea"/>
          <a:cs typeface="+mj-cs"/>
        </a:defRPr>
      </a:lvl1pPr>
    </p:titleStyle>
    <p:bodyStyle>
      <a:lvl1pPr marL="539946" indent="-539946" algn="l" defTabSz="1218963"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389" indent="-571443" algn="l" defTabSz="1218963"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353" indent="-571443" algn="l" defTabSz="1218963"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028" indent="-457154" algn="l" defTabSz="1218963"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6992" indent="-457154" algn="l" defTabSz="1218963"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149"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1630"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112"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0594"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8963" rtl="0" eaLnBrk="1" latinLnBrk="0" hangingPunct="1">
        <a:defRPr sz="2400" kern="1200">
          <a:solidFill>
            <a:schemeClr val="tx1"/>
          </a:solidFill>
          <a:latin typeface="+mn-lt"/>
          <a:ea typeface="+mn-ea"/>
          <a:cs typeface="+mn-cs"/>
        </a:defRPr>
      </a:lvl1pPr>
      <a:lvl2pPr marL="609482" algn="l" defTabSz="1218963" rtl="0" eaLnBrk="1" latinLnBrk="0" hangingPunct="1">
        <a:defRPr sz="2400" kern="1200">
          <a:solidFill>
            <a:schemeClr val="tx1"/>
          </a:solidFill>
          <a:latin typeface="+mn-lt"/>
          <a:ea typeface="+mn-ea"/>
          <a:cs typeface="+mn-cs"/>
        </a:defRPr>
      </a:lvl2pPr>
      <a:lvl3pPr marL="1218963" algn="l" defTabSz="1218963" rtl="0" eaLnBrk="1" latinLnBrk="0" hangingPunct="1">
        <a:defRPr sz="2400" kern="1200">
          <a:solidFill>
            <a:schemeClr val="tx1"/>
          </a:solidFill>
          <a:latin typeface="+mn-lt"/>
          <a:ea typeface="+mn-ea"/>
          <a:cs typeface="+mn-cs"/>
        </a:defRPr>
      </a:lvl3pPr>
      <a:lvl4pPr marL="1828445" algn="l" defTabSz="1218963" rtl="0" eaLnBrk="1" latinLnBrk="0" hangingPunct="1">
        <a:defRPr sz="2400" kern="1200">
          <a:solidFill>
            <a:schemeClr val="tx1"/>
          </a:solidFill>
          <a:latin typeface="+mn-lt"/>
          <a:ea typeface="+mn-ea"/>
          <a:cs typeface="+mn-cs"/>
        </a:defRPr>
      </a:lvl4pPr>
      <a:lvl5pPr marL="2437927" algn="l" defTabSz="1218963" rtl="0" eaLnBrk="1" latinLnBrk="0" hangingPunct="1">
        <a:defRPr sz="2400" kern="1200">
          <a:solidFill>
            <a:schemeClr val="tx1"/>
          </a:solidFill>
          <a:latin typeface="+mn-lt"/>
          <a:ea typeface="+mn-ea"/>
          <a:cs typeface="+mn-cs"/>
        </a:defRPr>
      </a:lvl5pPr>
      <a:lvl6pPr marL="3047409" algn="l" defTabSz="1218963" rtl="0" eaLnBrk="1" latinLnBrk="0" hangingPunct="1">
        <a:defRPr sz="2400" kern="1200">
          <a:solidFill>
            <a:schemeClr val="tx1"/>
          </a:solidFill>
          <a:latin typeface="+mn-lt"/>
          <a:ea typeface="+mn-ea"/>
          <a:cs typeface="+mn-cs"/>
        </a:defRPr>
      </a:lvl6pPr>
      <a:lvl7pPr marL="3656889" algn="l" defTabSz="1218963" rtl="0" eaLnBrk="1" latinLnBrk="0" hangingPunct="1">
        <a:defRPr sz="2400" kern="1200">
          <a:solidFill>
            <a:schemeClr val="tx1"/>
          </a:solidFill>
          <a:latin typeface="+mn-lt"/>
          <a:ea typeface="+mn-ea"/>
          <a:cs typeface="+mn-cs"/>
        </a:defRPr>
      </a:lvl7pPr>
      <a:lvl8pPr marL="4266372" algn="l" defTabSz="1218963" rtl="0" eaLnBrk="1" latinLnBrk="0" hangingPunct="1">
        <a:defRPr sz="2400" kern="1200">
          <a:solidFill>
            <a:schemeClr val="tx1"/>
          </a:solidFill>
          <a:latin typeface="+mn-lt"/>
          <a:ea typeface="+mn-ea"/>
          <a:cs typeface="+mn-cs"/>
        </a:defRPr>
      </a:lvl8pPr>
      <a:lvl9pPr marL="4875854" algn="l" defTabSz="121896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565">
          <p15:clr>
            <a:srgbClr val="F26B43"/>
          </p15:clr>
        </p15:guide>
        <p15:guide id="2" pos="2593">
          <p15:clr>
            <a:srgbClr val="F26B43"/>
          </p15:clr>
        </p15:guide>
        <p15:guide id="3" orient="horz" pos="935">
          <p15:clr>
            <a:srgbClr val="F26B43"/>
          </p15:clr>
        </p15:guide>
        <p15:guide id="4" orient="horz" pos="5307">
          <p15:clr>
            <a:srgbClr val="F26B43"/>
          </p15:clr>
        </p15:guide>
        <p15:guide id="5" orient="horz" pos="3997">
          <p15:clr>
            <a:srgbClr val="F26B43"/>
          </p15:clr>
        </p15:guide>
        <p15:guide id="6" pos="7197">
          <p15:clr>
            <a:srgbClr val="F26B43"/>
          </p15:clr>
        </p15:guide>
        <p15:guide id="7" pos="415">
          <p15:clr>
            <a:srgbClr val="F26B43"/>
          </p15:clr>
        </p15:guide>
        <p15:guide id="8" orient="horz" pos="59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Box 6">
            <a:extLst>
              <a:ext uri="{FF2B5EF4-FFF2-40B4-BE49-F238E27FC236}">
                <a16:creationId xmlns:a16="http://schemas.microsoft.com/office/drawing/2014/main" id="{86B62DA1-65D5-497C-AF34-21B9EF27415A}"/>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dirty="0"/>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59100134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Ls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Box 6">
            <a:extLst>
              <a:ext uri="{FF2B5EF4-FFF2-40B4-BE49-F238E27FC236}">
                <a16:creationId xmlns:a16="http://schemas.microsoft.com/office/drawing/2014/main" id="{86B62DA1-65D5-497C-AF34-21B9EF27415A}"/>
              </a:ext>
            </a:extLst>
          </p:cNvPr>
          <p:cNvSpPr txBox="1"/>
          <p:nvPr userDrawn="1"/>
        </p:nvSpPr>
        <p:spPr>
          <a:xfrm>
            <a:off x="13816252" y="754065"/>
            <a:ext cx="1029446" cy="297454"/>
          </a:xfrm>
          <a:prstGeom prst="rect">
            <a:avLst/>
          </a:prstGeom>
          <a:noFill/>
        </p:spPr>
        <p:txBody>
          <a:bodyPr wrap="square" rtlCol="0">
            <a:spAutoFit/>
          </a:bodyPr>
          <a:lstStyle/>
          <a:p>
            <a:r>
              <a:rPr lang="en-US" sz="1333" b="1" dirty="0">
                <a:solidFill>
                  <a:srgbClr val="1E2B3C"/>
                </a:solidFill>
                <a:latin typeface="Arial" panose="020B0604020202020204" pitchFamily="34" charset="0"/>
                <a:cs typeface="Arial" panose="020B0604020202020204" pitchFamily="34" charset="0"/>
              </a:rPr>
              <a:t>digdir.no</a:t>
            </a:r>
          </a:p>
        </p:txBody>
      </p:sp>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dirty="0"/>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4214514162"/>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Ls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43B17289-FDF2-4941-A144-B93FD17639C4}"/>
              </a:ext>
            </a:extLst>
          </p:cNvPr>
          <p:cNvSpPr>
            <a:spLocks noGrp="1"/>
          </p:cNvSpPr>
          <p:nvPr>
            <p:ph type="title"/>
          </p:nvPr>
        </p:nvSpPr>
        <p:spPr>
          <a:xfrm>
            <a:off x="1117491" y="486834"/>
            <a:ext cx="14019431" cy="1767417"/>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D4F33C8B-E521-4B0E-8F05-C166B460291D}"/>
              </a:ext>
            </a:extLst>
          </p:cNvPr>
          <p:cNvSpPr>
            <a:spLocks noGrp="1"/>
          </p:cNvSpPr>
          <p:nvPr>
            <p:ph type="body" idx="1"/>
          </p:nvPr>
        </p:nvSpPr>
        <p:spPr>
          <a:xfrm>
            <a:off x="1117491" y="2434167"/>
            <a:ext cx="14019431" cy="5801784"/>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24C1E6E-10BA-49A3-BA42-B85A9E9CFABB}"/>
              </a:ext>
            </a:extLst>
          </p:cNvPr>
          <p:cNvSpPr>
            <a:spLocks noGrp="1"/>
          </p:cNvSpPr>
          <p:nvPr>
            <p:ph type="dt" sz="half" idx="2"/>
          </p:nvPr>
        </p:nvSpPr>
        <p:spPr>
          <a:xfrm>
            <a:off x="1117491" y="8475134"/>
            <a:ext cx="3657243" cy="486833"/>
          </a:xfrm>
          <a:prstGeom prst="rect">
            <a:avLst/>
          </a:prstGeom>
        </p:spPr>
        <p:txBody>
          <a:bodyPr vert="horz" lIns="91440" tIns="45720" rIns="91440" bIns="45720" rtlCol="0" anchor="ctr"/>
          <a:lstStyle>
            <a:lvl1pPr algn="l">
              <a:defRPr sz="1600">
                <a:solidFill>
                  <a:schemeClr val="tx1">
                    <a:tint val="75000"/>
                  </a:schemeClr>
                </a:solidFill>
              </a:defRPr>
            </a:lvl1pPr>
          </a:lstStyle>
          <a:p>
            <a:fld id="{849A974F-0D2A-478B-8783-8081417DA414}" type="datetimeFigureOut">
              <a:rPr lang="nb-NO" smtClean="0"/>
              <a:t>05.11.2024</a:t>
            </a:fld>
            <a:endParaRPr lang="nb-NO"/>
          </a:p>
        </p:txBody>
      </p:sp>
      <p:sp>
        <p:nvSpPr>
          <p:cNvPr id="5" name="Plassholder for bunntekst 4">
            <a:extLst>
              <a:ext uri="{FF2B5EF4-FFF2-40B4-BE49-F238E27FC236}">
                <a16:creationId xmlns:a16="http://schemas.microsoft.com/office/drawing/2014/main" id="{CEB3962C-4D90-4A34-96EE-D3BC292F8C50}"/>
              </a:ext>
            </a:extLst>
          </p:cNvPr>
          <p:cNvSpPr>
            <a:spLocks noGrp="1"/>
          </p:cNvSpPr>
          <p:nvPr>
            <p:ph type="ftr" sz="quarter" idx="3"/>
          </p:nvPr>
        </p:nvSpPr>
        <p:spPr>
          <a:xfrm>
            <a:off x="5384275" y="8475134"/>
            <a:ext cx="5485864" cy="48683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DC3C1A00-0F42-45C2-9808-247F18D95221}"/>
              </a:ext>
            </a:extLst>
          </p:cNvPr>
          <p:cNvSpPr>
            <a:spLocks noGrp="1"/>
          </p:cNvSpPr>
          <p:nvPr>
            <p:ph type="sldNum" sz="quarter" idx="4"/>
          </p:nvPr>
        </p:nvSpPr>
        <p:spPr>
          <a:xfrm>
            <a:off x="11479679" y="8475134"/>
            <a:ext cx="3657243" cy="486833"/>
          </a:xfrm>
          <a:prstGeom prst="rect">
            <a:avLst/>
          </a:prstGeom>
        </p:spPr>
        <p:txBody>
          <a:bodyPr vert="horz" lIns="91440" tIns="45720" rIns="91440" bIns="45720" rtlCol="0" anchor="ctr"/>
          <a:lstStyle>
            <a:lvl1pPr algn="r">
              <a:defRPr sz="1600">
                <a:solidFill>
                  <a:schemeClr val="tx1">
                    <a:tint val="75000"/>
                  </a:schemeClr>
                </a:solidFill>
              </a:defRPr>
            </a:lvl1pPr>
          </a:lstStyle>
          <a:p>
            <a:fld id="{471B9331-CA6F-4E5F-8E86-D7B91DFF1ACB}" type="slidenum">
              <a:rPr lang="nb-NO" smtClean="0"/>
              <a:t>‹#›</a:t>
            </a:fld>
            <a:endParaRPr lang="nb-NO"/>
          </a:p>
        </p:txBody>
      </p:sp>
    </p:spTree>
    <p:extLst>
      <p:ext uri="{BB962C8B-B14F-4D97-AF65-F5344CB8AC3E}">
        <p14:creationId xmlns:p14="http://schemas.microsoft.com/office/powerpoint/2010/main" val="318829755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txStyles>
    <p:titleStyle>
      <a:lvl1pPr algn="l" defTabSz="1219078" rtl="0" eaLnBrk="1" latinLnBrk="0" hangingPunct="1">
        <a:lnSpc>
          <a:spcPct val="90000"/>
        </a:lnSpc>
        <a:spcBef>
          <a:spcPct val="0"/>
        </a:spcBef>
        <a:buNone/>
        <a:defRPr sz="5866" kern="1200">
          <a:solidFill>
            <a:schemeClr val="tx1"/>
          </a:solidFill>
          <a:latin typeface="+mj-lt"/>
          <a:ea typeface="+mj-ea"/>
          <a:cs typeface="+mj-cs"/>
        </a:defRPr>
      </a:lvl1pPr>
    </p:titleStyle>
    <p:bodyStyle>
      <a:lvl1pPr marL="304770" indent="-304770" algn="l" defTabSz="1219078"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09" indent="-304770" algn="l" defTabSz="1219078"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848" indent="-304770" algn="l" defTabSz="1219078" rtl="0" eaLnBrk="1" latinLnBrk="0" hangingPunct="1">
        <a:lnSpc>
          <a:spcPct val="90000"/>
        </a:lnSpc>
        <a:spcBef>
          <a:spcPts val="667"/>
        </a:spcBef>
        <a:buFont typeface="Arial" panose="020B0604020202020204" pitchFamily="34" charset="0"/>
        <a:buChar char="•"/>
        <a:defRPr sz="2666" kern="1200">
          <a:solidFill>
            <a:schemeClr val="tx1"/>
          </a:solidFill>
          <a:latin typeface="+mn-lt"/>
          <a:ea typeface="+mn-ea"/>
          <a:cs typeface="+mn-cs"/>
        </a:defRPr>
      </a:lvl3pPr>
      <a:lvl4pPr marL="2133387"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2926"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465"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04"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43"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082"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03A621-90ED-47EE-9550-2F39648C4586}"/>
              </a:ext>
            </a:extLst>
          </p:cNvPr>
          <p:cNvGraphicFramePr>
            <a:graphicFrameLocks noChangeAspect="1"/>
          </p:cNvGraphicFramePr>
          <p:nvPr>
            <p:custDataLst>
              <p:tags r:id="rId22"/>
            </p:custDataLst>
            <p:extLst>
              <p:ext uri="{D42A27DB-BD31-4B8C-83A1-F6EECF244321}">
                <p14:modId xmlns:p14="http://schemas.microsoft.com/office/powerpoint/2010/main" val="22863626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23" imgW="473" imgH="476" progId="TCLayout.ActiveDocument.1">
                  <p:embed/>
                </p:oleObj>
              </mc:Choice>
              <mc:Fallback>
                <p:oleObj name="think-cell Slide" r:id="rId23" imgW="473" imgH="476" progId="TCLayout.ActiveDocument.1">
                  <p:embed/>
                  <p:pic>
                    <p:nvPicPr>
                      <p:cNvPr id="5" name="Object 4" hidden="1">
                        <a:extLst>
                          <a:ext uri="{FF2B5EF4-FFF2-40B4-BE49-F238E27FC236}">
                            <a16:creationId xmlns:a16="http://schemas.microsoft.com/office/drawing/2014/main" id="{7D03A621-90ED-47EE-9550-2F39648C4586}"/>
                          </a:ext>
                        </a:extLst>
                      </p:cNvPr>
                      <p:cNvPicPr/>
                      <p:nvPr/>
                    </p:nvPicPr>
                    <p:blipFill>
                      <a:blip r:embed="rId24"/>
                      <a:stretch>
                        <a:fillRect/>
                      </a:stretch>
                    </p:blipFill>
                    <p:spPr>
                      <a:xfrm>
                        <a:off x="1588" y="1589"/>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1069976" y="1269602"/>
            <a:ext cx="14114462" cy="692497"/>
          </a:xfrm>
          <a:prstGeom prst="rect">
            <a:avLst/>
          </a:prstGeom>
        </p:spPr>
        <p:txBody>
          <a:bodyPr vert="horz" lIns="0" tIns="0" rIns="0" bIns="0" rtlCol="0" anchor="t" anchorCtr="0">
            <a:noAutofit/>
          </a:bodyPr>
          <a:lstStyle/>
          <a:p>
            <a:r>
              <a:rPr lang="nb-NO"/>
              <a:t>Klikk for å redigere tittelstil</a:t>
            </a:r>
          </a:p>
        </p:txBody>
      </p:sp>
      <p:sp>
        <p:nvSpPr>
          <p:cNvPr id="3" name="Plassholder for tekst 2"/>
          <p:cNvSpPr>
            <a:spLocks noGrp="1"/>
          </p:cNvSpPr>
          <p:nvPr>
            <p:ph type="body" idx="1"/>
          </p:nvPr>
        </p:nvSpPr>
        <p:spPr>
          <a:xfrm>
            <a:off x="1069976" y="2484440"/>
            <a:ext cx="14114462" cy="5940425"/>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52443" y="469288"/>
            <a:ext cx="2065553" cy="698973"/>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p:nvSpPr>
        <p:spPr>
          <a:xfrm>
            <a:off x="13816252" y="754067"/>
            <a:ext cx="1029446"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01257426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223" rtl="0" eaLnBrk="1" latinLnBrk="0" hangingPunct="1">
        <a:lnSpc>
          <a:spcPct val="90000"/>
        </a:lnSpc>
        <a:spcBef>
          <a:spcPct val="0"/>
        </a:spcBef>
        <a:buNone/>
        <a:defRPr sz="3000" kern="1200">
          <a:solidFill>
            <a:schemeClr val="dk2"/>
          </a:solidFill>
          <a:latin typeface="+mj-lt"/>
          <a:ea typeface="+mj-ea"/>
          <a:cs typeface="+mj-cs"/>
        </a:defRPr>
      </a:lvl1pPr>
    </p:titleStyle>
    <p:bodyStyle>
      <a:lvl1pPr marL="404960" indent="-404960" algn="l" defTabSz="914223" rtl="0" eaLnBrk="1" latinLnBrk="0" hangingPunct="1">
        <a:lnSpc>
          <a:spcPct val="100000"/>
        </a:lnSpc>
        <a:spcBef>
          <a:spcPts val="1874"/>
        </a:spcBef>
        <a:buClr>
          <a:schemeClr val="accent3"/>
        </a:buClr>
        <a:buFont typeface="Arial" panose="020B0604020202020204" pitchFamily="34" charset="0"/>
        <a:buChar char="•"/>
        <a:defRPr sz="2700" kern="1200">
          <a:solidFill>
            <a:schemeClr val="tx2"/>
          </a:solidFill>
          <a:latin typeface="+mn-lt"/>
          <a:ea typeface="+mn-ea"/>
          <a:cs typeface="+mn-cs"/>
        </a:defRPr>
      </a:lvl1pPr>
      <a:lvl2pPr marL="833542" indent="-428582" algn="l" defTabSz="914223" rtl="0" eaLnBrk="1" latinLnBrk="0" hangingPunct="1">
        <a:lnSpc>
          <a:spcPct val="90000"/>
        </a:lnSpc>
        <a:spcBef>
          <a:spcPts val="1125"/>
        </a:spcBef>
        <a:buClr>
          <a:schemeClr val="accent3"/>
        </a:buClr>
        <a:buSzPct val="100000"/>
        <a:buFont typeface="Arial" panose="020B0604020202020204" pitchFamily="34" charset="0"/>
        <a:buChar char="•"/>
        <a:defRPr sz="2400" kern="1200">
          <a:solidFill>
            <a:schemeClr val="tx2"/>
          </a:solidFill>
          <a:latin typeface="+mn-lt"/>
          <a:ea typeface="+mn-ea"/>
          <a:cs typeface="+mn-cs"/>
        </a:defRPr>
      </a:lvl2pPr>
      <a:lvl3pPr marL="1103515" indent="-428582" algn="l" defTabSz="914223" rtl="0" eaLnBrk="1" latinLnBrk="0" hangingPunct="1">
        <a:lnSpc>
          <a:spcPct val="90000"/>
        </a:lnSpc>
        <a:spcBef>
          <a:spcPts val="1125"/>
        </a:spcBef>
        <a:buClr>
          <a:schemeClr val="accent3"/>
        </a:buClr>
        <a:buSzPct val="100000"/>
        <a:buFont typeface="Arial" panose="020B0604020202020204" pitchFamily="34" charset="0"/>
        <a:buChar char="•"/>
        <a:defRPr sz="2100" kern="1200">
          <a:solidFill>
            <a:schemeClr val="tx2"/>
          </a:solidFill>
          <a:latin typeface="+mn-lt"/>
          <a:ea typeface="+mn-ea"/>
          <a:cs typeface="+mn-cs"/>
        </a:defRPr>
      </a:lvl3pPr>
      <a:lvl4pPr marL="1287771" indent="-342866" algn="l" defTabSz="914223" rtl="0" eaLnBrk="1" latinLnBrk="0" hangingPunct="1">
        <a:lnSpc>
          <a:spcPct val="90000"/>
        </a:lnSpc>
        <a:spcBef>
          <a:spcPts val="1125"/>
        </a:spcBef>
        <a:buClr>
          <a:schemeClr val="accent3"/>
        </a:buClr>
        <a:buSzPct val="100000"/>
        <a:buFont typeface="Arial" panose="020B0604020202020204" pitchFamily="34" charset="0"/>
        <a:buChar char="•"/>
        <a:defRPr sz="1800" kern="1200">
          <a:solidFill>
            <a:schemeClr val="tx2"/>
          </a:solidFill>
          <a:latin typeface="+mn-lt"/>
          <a:ea typeface="+mn-ea"/>
          <a:cs typeface="+mn-cs"/>
        </a:defRPr>
      </a:lvl4pPr>
      <a:lvl5pPr marL="1557744" indent="-342866" algn="l" defTabSz="914223" rtl="0" eaLnBrk="1" latinLnBrk="0" hangingPunct="1">
        <a:lnSpc>
          <a:spcPct val="90000"/>
        </a:lnSpc>
        <a:spcBef>
          <a:spcPts val="1125"/>
        </a:spcBef>
        <a:buClr>
          <a:schemeClr val="accent3"/>
        </a:buClr>
        <a:buSzPct val="100000"/>
        <a:buFont typeface="Arial" panose="020B0604020202020204" pitchFamily="34" charset="0"/>
        <a:buChar char="•"/>
        <a:defRPr sz="1500" kern="1200">
          <a:solidFill>
            <a:schemeClr val="tx2"/>
          </a:solidFill>
          <a:latin typeface="+mn-lt"/>
          <a:ea typeface="+mn-ea"/>
          <a:cs typeface="+mn-cs"/>
        </a:defRPr>
      </a:lvl5pPr>
      <a:lvl6pPr marL="2514111" indent="-228556" algn="l" defTabSz="9142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23" indent="-228556" algn="l" defTabSz="9142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34" indent="-228556" algn="l" defTabSz="9142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46" indent="-228556" algn="l" defTabSz="9142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223" rtl="0" eaLnBrk="1" latinLnBrk="0" hangingPunct="1">
        <a:defRPr sz="1800" kern="1200">
          <a:solidFill>
            <a:schemeClr val="tx1"/>
          </a:solidFill>
          <a:latin typeface="+mn-lt"/>
          <a:ea typeface="+mn-ea"/>
          <a:cs typeface="+mn-cs"/>
        </a:defRPr>
      </a:lvl1pPr>
      <a:lvl2pPr marL="457112" algn="l" defTabSz="914223" rtl="0" eaLnBrk="1" latinLnBrk="0" hangingPunct="1">
        <a:defRPr sz="1800" kern="1200">
          <a:solidFill>
            <a:schemeClr val="tx1"/>
          </a:solidFill>
          <a:latin typeface="+mn-lt"/>
          <a:ea typeface="+mn-ea"/>
          <a:cs typeface="+mn-cs"/>
        </a:defRPr>
      </a:lvl2pPr>
      <a:lvl3pPr marL="914223" algn="l" defTabSz="914223" rtl="0" eaLnBrk="1" latinLnBrk="0" hangingPunct="1">
        <a:defRPr sz="1800" kern="1200">
          <a:solidFill>
            <a:schemeClr val="tx1"/>
          </a:solidFill>
          <a:latin typeface="+mn-lt"/>
          <a:ea typeface="+mn-ea"/>
          <a:cs typeface="+mn-cs"/>
        </a:defRPr>
      </a:lvl3pPr>
      <a:lvl4pPr marL="1371334" algn="l" defTabSz="914223" rtl="0" eaLnBrk="1" latinLnBrk="0" hangingPunct="1">
        <a:defRPr sz="1800" kern="1200">
          <a:solidFill>
            <a:schemeClr val="tx1"/>
          </a:solidFill>
          <a:latin typeface="+mn-lt"/>
          <a:ea typeface="+mn-ea"/>
          <a:cs typeface="+mn-cs"/>
        </a:defRPr>
      </a:lvl4pPr>
      <a:lvl5pPr marL="1828445" algn="l" defTabSz="914223" rtl="0" eaLnBrk="1" latinLnBrk="0" hangingPunct="1">
        <a:defRPr sz="1800" kern="1200">
          <a:solidFill>
            <a:schemeClr val="tx1"/>
          </a:solidFill>
          <a:latin typeface="+mn-lt"/>
          <a:ea typeface="+mn-ea"/>
          <a:cs typeface="+mn-cs"/>
        </a:defRPr>
      </a:lvl5pPr>
      <a:lvl6pPr marL="2285557" algn="l" defTabSz="914223" rtl="0" eaLnBrk="1" latinLnBrk="0" hangingPunct="1">
        <a:defRPr sz="1800" kern="1200">
          <a:solidFill>
            <a:schemeClr val="tx1"/>
          </a:solidFill>
          <a:latin typeface="+mn-lt"/>
          <a:ea typeface="+mn-ea"/>
          <a:cs typeface="+mn-cs"/>
        </a:defRPr>
      </a:lvl6pPr>
      <a:lvl7pPr marL="2742667" algn="l" defTabSz="914223" rtl="0" eaLnBrk="1" latinLnBrk="0" hangingPunct="1">
        <a:defRPr sz="1800" kern="1200">
          <a:solidFill>
            <a:schemeClr val="tx1"/>
          </a:solidFill>
          <a:latin typeface="+mn-lt"/>
          <a:ea typeface="+mn-ea"/>
          <a:cs typeface="+mn-cs"/>
        </a:defRPr>
      </a:lvl7pPr>
      <a:lvl8pPr marL="3199779" algn="l" defTabSz="914223" rtl="0" eaLnBrk="1" latinLnBrk="0" hangingPunct="1">
        <a:defRPr sz="1800" kern="1200">
          <a:solidFill>
            <a:schemeClr val="tx1"/>
          </a:solidFill>
          <a:latin typeface="+mn-lt"/>
          <a:ea typeface="+mn-ea"/>
          <a:cs typeface="+mn-cs"/>
        </a:defRPr>
      </a:lvl8pPr>
      <a:lvl9pPr marL="3656890" algn="l" defTabSz="91422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752">
          <p15:clr>
            <a:srgbClr val="F26B43"/>
          </p15:clr>
        </p15:guide>
        <p15:guide id="2" pos="899">
          <p15:clr>
            <a:srgbClr val="F26B43"/>
          </p15:clr>
        </p15:guide>
        <p15:guide id="3" orient="horz" pos="2087">
          <p15:clr>
            <a:srgbClr val="F26B43"/>
          </p15:clr>
        </p15:guide>
        <p15:guide id="4" orient="horz" pos="707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2364233" y="1480957"/>
            <a:ext cx="12295197" cy="692497"/>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2364233" y="2453732"/>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19901847"/>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1218963"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39946" indent="-539946" algn="l" defTabSz="1218963"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389" indent="-571443" algn="l" defTabSz="1218963"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353" indent="-571443" algn="l" defTabSz="1218963"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028" indent="-457154" algn="l" defTabSz="1218963"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6992" indent="-457154" algn="l" defTabSz="1218963"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149"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1630"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112"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0594"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8963" rtl="0" eaLnBrk="1" latinLnBrk="0" hangingPunct="1">
        <a:defRPr sz="2400" kern="1200">
          <a:solidFill>
            <a:schemeClr val="tx1"/>
          </a:solidFill>
          <a:latin typeface="+mn-lt"/>
          <a:ea typeface="+mn-ea"/>
          <a:cs typeface="+mn-cs"/>
        </a:defRPr>
      </a:lvl1pPr>
      <a:lvl2pPr marL="609482" algn="l" defTabSz="1218963" rtl="0" eaLnBrk="1" latinLnBrk="0" hangingPunct="1">
        <a:defRPr sz="2400" kern="1200">
          <a:solidFill>
            <a:schemeClr val="tx1"/>
          </a:solidFill>
          <a:latin typeface="+mn-lt"/>
          <a:ea typeface="+mn-ea"/>
          <a:cs typeface="+mn-cs"/>
        </a:defRPr>
      </a:lvl2pPr>
      <a:lvl3pPr marL="1218963" algn="l" defTabSz="1218963" rtl="0" eaLnBrk="1" latinLnBrk="0" hangingPunct="1">
        <a:defRPr sz="2400" kern="1200">
          <a:solidFill>
            <a:schemeClr val="tx1"/>
          </a:solidFill>
          <a:latin typeface="+mn-lt"/>
          <a:ea typeface="+mn-ea"/>
          <a:cs typeface="+mn-cs"/>
        </a:defRPr>
      </a:lvl3pPr>
      <a:lvl4pPr marL="1828445" algn="l" defTabSz="1218963" rtl="0" eaLnBrk="1" latinLnBrk="0" hangingPunct="1">
        <a:defRPr sz="2400" kern="1200">
          <a:solidFill>
            <a:schemeClr val="tx1"/>
          </a:solidFill>
          <a:latin typeface="+mn-lt"/>
          <a:ea typeface="+mn-ea"/>
          <a:cs typeface="+mn-cs"/>
        </a:defRPr>
      </a:lvl4pPr>
      <a:lvl5pPr marL="2437927" algn="l" defTabSz="1218963" rtl="0" eaLnBrk="1" latinLnBrk="0" hangingPunct="1">
        <a:defRPr sz="2400" kern="1200">
          <a:solidFill>
            <a:schemeClr val="tx1"/>
          </a:solidFill>
          <a:latin typeface="+mn-lt"/>
          <a:ea typeface="+mn-ea"/>
          <a:cs typeface="+mn-cs"/>
        </a:defRPr>
      </a:lvl5pPr>
      <a:lvl6pPr marL="3047409" algn="l" defTabSz="1218963" rtl="0" eaLnBrk="1" latinLnBrk="0" hangingPunct="1">
        <a:defRPr sz="2400" kern="1200">
          <a:solidFill>
            <a:schemeClr val="tx1"/>
          </a:solidFill>
          <a:latin typeface="+mn-lt"/>
          <a:ea typeface="+mn-ea"/>
          <a:cs typeface="+mn-cs"/>
        </a:defRPr>
      </a:lvl6pPr>
      <a:lvl7pPr marL="3656889" algn="l" defTabSz="1218963" rtl="0" eaLnBrk="1" latinLnBrk="0" hangingPunct="1">
        <a:defRPr sz="2400" kern="1200">
          <a:solidFill>
            <a:schemeClr val="tx1"/>
          </a:solidFill>
          <a:latin typeface="+mn-lt"/>
          <a:ea typeface="+mn-ea"/>
          <a:cs typeface="+mn-cs"/>
        </a:defRPr>
      </a:lvl7pPr>
      <a:lvl8pPr marL="4266372" algn="l" defTabSz="1218963" rtl="0" eaLnBrk="1" latinLnBrk="0" hangingPunct="1">
        <a:defRPr sz="2400" kern="1200">
          <a:solidFill>
            <a:schemeClr val="tx1"/>
          </a:solidFill>
          <a:latin typeface="+mn-lt"/>
          <a:ea typeface="+mn-ea"/>
          <a:cs typeface="+mn-cs"/>
        </a:defRPr>
      </a:lvl8pPr>
      <a:lvl9pPr marL="4875854" algn="l" defTabSz="1218963"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CAB865AE-BE6E-4F38-A2A2-6D3364469C60}"/>
              </a:ext>
            </a:extLst>
          </p:cNvPr>
          <p:cNvSpPr>
            <a:spLocks noGrp="1"/>
          </p:cNvSpPr>
          <p:nvPr>
            <p:ph type="title"/>
          </p:nvPr>
        </p:nvSpPr>
        <p:spPr>
          <a:xfrm>
            <a:off x="1638674" y="738008"/>
            <a:ext cx="13680000" cy="692497"/>
          </a:xfrm>
          <a:prstGeom prst="rect">
            <a:avLst/>
          </a:prstGeom>
        </p:spPr>
        <p:txBody>
          <a:bodyPr vert="horz" lIns="0" tIns="0" rIns="0" bIns="0" rtlCol="0" anchor="b" anchorCtr="0">
            <a:noAutofit/>
          </a:bodyPr>
          <a:lstStyle/>
          <a:p>
            <a:r>
              <a:rPr lang="nb-NO"/>
              <a:t>Klikk for å redigere tittelstil</a:t>
            </a:r>
          </a:p>
        </p:txBody>
      </p:sp>
      <p:sp>
        <p:nvSpPr>
          <p:cNvPr id="8" name="Plassholder for tekst 2">
            <a:extLst>
              <a:ext uri="{FF2B5EF4-FFF2-40B4-BE49-F238E27FC236}">
                <a16:creationId xmlns:a16="http://schemas.microsoft.com/office/drawing/2014/main" id="{7BC4CC8A-BC53-4C56-B1CB-693F59C2607F}"/>
              </a:ext>
            </a:extLst>
          </p:cNvPr>
          <p:cNvSpPr>
            <a:spLocks noGrp="1"/>
          </p:cNvSpPr>
          <p:nvPr>
            <p:ph type="body" idx="1"/>
          </p:nvPr>
        </p:nvSpPr>
        <p:spPr>
          <a:xfrm>
            <a:off x="1638674" y="1710780"/>
            <a:ext cx="13680000" cy="6480000"/>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9" name="Bilde 8">
            <a:extLst>
              <a:ext uri="{FF2B5EF4-FFF2-40B4-BE49-F238E27FC236}">
                <a16:creationId xmlns:a16="http://schemas.microsoft.com/office/drawing/2014/main" id="{AE4A0978-02B8-4A21-B9F3-35F04500CEF5}"/>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5799" y="8436850"/>
            <a:ext cx="2065553" cy="698973"/>
          </a:xfrm>
          <a:prstGeom prst="rect">
            <a:avLst/>
          </a:prstGeom>
        </p:spPr>
      </p:pic>
      <p:sp>
        <p:nvSpPr>
          <p:cNvPr id="10" name="TextBox 6">
            <a:extLst>
              <a:ext uri="{FF2B5EF4-FFF2-40B4-BE49-F238E27FC236}">
                <a16:creationId xmlns:a16="http://schemas.microsoft.com/office/drawing/2014/main" id="{311B58C7-F868-414D-ABBD-01E4E8CA6F3D}"/>
              </a:ext>
            </a:extLst>
          </p:cNvPr>
          <p:cNvSpPr txBox="1"/>
          <p:nvPr userDrawn="1"/>
        </p:nvSpPr>
        <p:spPr>
          <a:xfrm>
            <a:off x="15224967" y="8637609"/>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24318289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Lst>
  <p:txStyles>
    <p:titleStyle>
      <a:lvl1pPr algn="l" defTabSz="914309"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59964" indent="-359964" algn="l" defTabSz="914309" rtl="0" eaLnBrk="1" latinLnBrk="0" hangingPunct="1">
        <a:lnSpc>
          <a:spcPct val="90000"/>
        </a:lnSpc>
        <a:spcBef>
          <a:spcPts val="1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19928" indent="-359964" algn="l" defTabSz="914309" rtl="0" eaLnBrk="1" latinLnBrk="0" hangingPunct="1">
        <a:lnSpc>
          <a:spcPct val="90000"/>
        </a:lnSpc>
        <a:spcBef>
          <a:spcPts val="5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2886"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040"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194"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2364233" y="1480957"/>
            <a:ext cx="12295197" cy="692497"/>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2364233" y="2453732"/>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2232602" y="469287"/>
            <a:ext cx="2065553" cy="698973"/>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userDrawn="1"/>
        </p:nvSpPr>
        <p:spPr>
          <a:xfrm>
            <a:off x="13816252" y="754066"/>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970961557"/>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1218963"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39946" indent="-539946" algn="l" defTabSz="1218963"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389" indent="-571443" algn="l" defTabSz="1218963"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353" indent="-571443" algn="l" defTabSz="1218963"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028" indent="-457154" algn="l" defTabSz="1218963"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6992" indent="-457154" algn="l" defTabSz="1218963"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149"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1630"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112"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0594" indent="-304740" algn="l" defTabSz="1218963"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8963" rtl="0" eaLnBrk="1" latinLnBrk="0" hangingPunct="1">
        <a:defRPr sz="2400" kern="1200">
          <a:solidFill>
            <a:schemeClr val="tx1"/>
          </a:solidFill>
          <a:latin typeface="+mn-lt"/>
          <a:ea typeface="+mn-ea"/>
          <a:cs typeface="+mn-cs"/>
        </a:defRPr>
      </a:lvl1pPr>
      <a:lvl2pPr marL="609482" algn="l" defTabSz="1218963" rtl="0" eaLnBrk="1" latinLnBrk="0" hangingPunct="1">
        <a:defRPr sz="2400" kern="1200">
          <a:solidFill>
            <a:schemeClr val="tx1"/>
          </a:solidFill>
          <a:latin typeface="+mn-lt"/>
          <a:ea typeface="+mn-ea"/>
          <a:cs typeface="+mn-cs"/>
        </a:defRPr>
      </a:lvl2pPr>
      <a:lvl3pPr marL="1218963" algn="l" defTabSz="1218963" rtl="0" eaLnBrk="1" latinLnBrk="0" hangingPunct="1">
        <a:defRPr sz="2400" kern="1200">
          <a:solidFill>
            <a:schemeClr val="tx1"/>
          </a:solidFill>
          <a:latin typeface="+mn-lt"/>
          <a:ea typeface="+mn-ea"/>
          <a:cs typeface="+mn-cs"/>
        </a:defRPr>
      </a:lvl3pPr>
      <a:lvl4pPr marL="1828445" algn="l" defTabSz="1218963" rtl="0" eaLnBrk="1" latinLnBrk="0" hangingPunct="1">
        <a:defRPr sz="2400" kern="1200">
          <a:solidFill>
            <a:schemeClr val="tx1"/>
          </a:solidFill>
          <a:latin typeface="+mn-lt"/>
          <a:ea typeface="+mn-ea"/>
          <a:cs typeface="+mn-cs"/>
        </a:defRPr>
      </a:lvl4pPr>
      <a:lvl5pPr marL="2437927" algn="l" defTabSz="1218963" rtl="0" eaLnBrk="1" latinLnBrk="0" hangingPunct="1">
        <a:defRPr sz="2400" kern="1200">
          <a:solidFill>
            <a:schemeClr val="tx1"/>
          </a:solidFill>
          <a:latin typeface="+mn-lt"/>
          <a:ea typeface="+mn-ea"/>
          <a:cs typeface="+mn-cs"/>
        </a:defRPr>
      </a:lvl5pPr>
      <a:lvl6pPr marL="3047409" algn="l" defTabSz="1218963" rtl="0" eaLnBrk="1" latinLnBrk="0" hangingPunct="1">
        <a:defRPr sz="2400" kern="1200">
          <a:solidFill>
            <a:schemeClr val="tx1"/>
          </a:solidFill>
          <a:latin typeface="+mn-lt"/>
          <a:ea typeface="+mn-ea"/>
          <a:cs typeface="+mn-cs"/>
        </a:defRPr>
      </a:lvl6pPr>
      <a:lvl7pPr marL="3656889" algn="l" defTabSz="1218963" rtl="0" eaLnBrk="1" latinLnBrk="0" hangingPunct="1">
        <a:defRPr sz="2400" kern="1200">
          <a:solidFill>
            <a:schemeClr val="tx1"/>
          </a:solidFill>
          <a:latin typeface="+mn-lt"/>
          <a:ea typeface="+mn-ea"/>
          <a:cs typeface="+mn-cs"/>
        </a:defRPr>
      </a:lvl7pPr>
      <a:lvl8pPr marL="4266372" algn="l" defTabSz="1218963" rtl="0" eaLnBrk="1" latinLnBrk="0" hangingPunct="1">
        <a:defRPr sz="2400" kern="1200">
          <a:solidFill>
            <a:schemeClr val="tx1"/>
          </a:solidFill>
          <a:latin typeface="+mn-lt"/>
          <a:ea typeface="+mn-ea"/>
          <a:cs typeface="+mn-cs"/>
        </a:defRPr>
      </a:lvl8pPr>
      <a:lvl9pPr marL="4875854" algn="l" defTabSz="1218963"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E8A7A-D352-580F-049E-487360CDB5C6}"/>
              </a:ext>
            </a:extLst>
          </p:cNvPr>
          <p:cNvSpPr>
            <a:spLocks noGrp="1"/>
          </p:cNvSpPr>
          <p:nvPr>
            <p:ph type="title"/>
          </p:nvPr>
        </p:nvSpPr>
        <p:spPr>
          <a:xfrm>
            <a:off x="1117491" y="486834"/>
            <a:ext cx="14019431" cy="1767417"/>
          </a:xfrm>
          <a:prstGeom prst="rect">
            <a:avLst/>
          </a:prstGeom>
        </p:spPr>
        <p:txBody>
          <a:bodyPr vert="horz" lIns="91440" tIns="45720" rIns="91440" bIns="45720" rtlCol="0" anchor="ctr">
            <a:normAutofit/>
          </a:bodyPr>
          <a:lstStyle/>
          <a:p>
            <a:r>
              <a:rPr lang="en-US"/>
              <a:t>Click to edit Master title style</a:t>
            </a:r>
            <a:endParaRPr lang="nb-NO"/>
          </a:p>
        </p:txBody>
      </p:sp>
      <p:sp>
        <p:nvSpPr>
          <p:cNvPr id="3" name="Text Placeholder 2">
            <a:extLst>
              <a:ext uri="{FF2B5EF4-FFF2-40B4-BE49-F238E27FC236}">
                <a16:creationId xmlns:a16="http://schemas.microsoft.com/office/drawing/2014/main" id="{BFFE392A-CF32-3598-C7E3-6DD4E272F8BC}"/>
              </a:ext>
            </a:extLst>
          </p:cNvPr>
          <p:cNvSpPr>
            <a:spLocks noGrp="1"/>
          </p:cNvSpPr>
          <p:nvPr>
            <p:ph type="body" idx="1"/>
          </p:nvPr>
        </p:nvSpPr>
        <p:spPr>
          <a:xfrm>
            <a:off x="1117491" y="2434167"/>
            <a:ext cx="14019431" cy="58017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08CD5629-C2D8-3B38-B88C-742FFBE2318F}"/>
              </a:ext>
            </a:extLst>
          </p:cNvPr>
          <p:cNvSpPr>
            <a:spLocks noGrp="1"/>
          </p:cNvSpPr>
          <p:nvPr>
            <p:ph type="dt" sz="half" idx="2"/>
          </p:nvPr>
        </p:nvSpPr>
        <p:spPr>
          <a:xfrm>
            <a:off x="1117491" y="8475134"/>
            <a:ext cx="3657243" cy="486833"/>
          </a:xfrm>
          <a:prstGeom prst="rect">
            <a:avLst/>
          </a:prstGeom>
        </p:spPr>
        <p:txBody>
          <a:bodyPr vert="horz" lIns="91440" tIns="45720" rIns="91440" bIns="45720" rtlCol="0" anchor="ctr"/>
          <a:lstStyle>
            <a:lvl1pPr algn="l">
              <a:defRPr sz="1600">
                <a:solidFill>
                  <a:schemeClr val="tx1">
                    <a:tint val="75000"/>
                  </a:schemeClr>
                </a:solidFill>
              </a:defRPr>
            </a:lvl1pPr>
          </a:lstStyle>
          <a:p>
            <a:fld id="{99A07B9E-452D-4ABE-A7F6-3363033B706A}" type="datetimeFigureOut">
              <a:rPr lang="nb-NO" smtClean="0"/>
              <a:t>05.11.2024</a:t>
            </a:fld>
            <a:endParaRPr lang="nb-NO"/>
          </a:p>
        </p:txBody>
      </p:sp>
      <p:sp>
        <p:nvSpPr>
          <p:cNvPr id="5" name="Footer Placeholder 4">
            <a:extLst>
              <a:ext uri="{FF2B5EF4-FFF2-40B4-BE49-F238E27FC236}">
                <a16:creationId xmlns:a16="http://schemas.microsoft.com/office/drawing/2014/main" id="{C7DDE57E-DF86-B9F9-FC0C-9D211B4C7463}"/>
              </a:ext>
            </a:extLst>
          </p:cNvPr>
          <p:cNvSpPr>
            <a:spLocks noGrp="1"/>
          </p:cNvSpPr>
          <p:nvPr>
            <p:ph type="ftr" sz="quarter" idx="3"/>
          </p:nvPr>
        </p:nvSpPr>
        <p:spPr>
          <a:xfrm>
            <a:off x="5384275" y="8475134"/>
            <a:ext cx="5485864" cy="48683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nb-NO"/>
          </a:p>
        </p:txBody>
      </p:sp>
      <p:sp>
        <p:nvSpPr>
          <p:cNvPr id="6" name="Slide Number Placeholder 5">
            <a:extLst>
              <a:ext uri="{FF2B5EF4-FFF2-40B4-BE49-F238E27FC236}">
                <a16:creationId xmlns:a16="http://schemas.microsoft.com/office/drawing/2014/main" id="{C3849F68-108C-C935-F0E5-058B82DBBAFF}"/>
              </a:ext>
            </a:extLst>
          </p:cNvPr>
          <p:cNvSpPr>
            <a:spLocks noGrp="1"/>
          </p:cNvSpPr>
          <p:nvPr>
            <p:ph type="sldNum" sz="quarter" idx="4"/>
          </p:nvPr>
        </p:nvSpPr>
        <p:spPr>
          <a:xfrm>
            <a:off x="11479679" y="8475134"/>
            <a:ext cx="3657243" cy="486833"/>
          </a:xfrm>
          <a:prstGeom prst="rect">
            <a:avLst/>
          </a:prstGeom>
        </p:spPr>
        <p:txBody>
          <a:bodyPr vert="horz" lIns="91440" tIns="45720" rIns="91440" bIns="45720" rtlCol="0" anchor="ctr"/>
          <a:lstStyle>
            <a:lvl1pPr algn="r">
              <a:defRPr sz="1600">
                <a:solidFill>
                  <a:schemeClr val="tx1">
                    <a:tint val="75000"/>
                  </a:schemeClr>
                </a:solidFill>
              </a:defRPr>
            </a:lvl1pPr>
          </a:lstStyle>
          <a:p>
            <a:fld id="{FDEB440C-C7FB-4CDC-AA16-BC206BA30330}" type="slidenum">
              <a:rPr lang="nb-NO" smtClean="0"/>
              <a:t>‹#›</a:t>
            </a:fld>
            <a:endParaRPr lang="nb-NO"/>
          </a:p>
        </p:txBody>
      </p:sp>
    </p:spTree>
    <p:extLst>
      <p:ext uri="{BB962C8B-B14F-4D97-AF65-F5344CB8AC3E}">
        <p14:creationId xmlns:p14="http://schemas.microsoft.com/office/powerpoint/2010/main" val="2574490014"/>
      </p:ext>
    </p:extLst>
  </p:cSld>
  <p:clrMap bg1="lt1" tx1="dk1" bg2="lt2" tx2="dk2" accent1="accent1" accent2="accent2" accent3="accent3" accent4="accent4" accent5="accent5" accent6="accent6" hlink="hlink" folHlink="folHlink"/>
  <p:sldLayoutIdLst>
    <p:sldLayoutId id="2147483840" r:id="rId1"/>
    <p:sldLayoutId id="2147483842" r:id="rId2"/>
    <p:sldLayoutId id="2147483843" r:id="rId3"/>
  </p:sldLayoutIdLst>
  <p:txStyles>
    <p:titleStyle>
      <a:lvl1pPr algn="l" defTabSz="1219078" rtl="0" eaLnBrk="1" latinLnBrk="0" hangingPunct="1">
        <a:lnSpc>
          <a:spcPct val="90000"/>
        </a:lnSpc>
        <a:spcBef>
          <a:spcPct val="0"/>
        </a:spcBef>
        <a:buNone/>
        <a:defRPr sz="5866" kern="1200">
          <a:solidFill>
            <a:schemeClr val="tx1"/>
          </a:solidFill>
          <a:latin typeface="+mj-lt"/>
          <a:ea typeface="+mj-ea"/>
          <a:cs typeface="+mj-cs"/>
        </a:defRPr>
      </a:lvl1pPr>
    </p:titleStyle>
    <p:bodyStyle>
      <a:lvl1pPr marL="304770" indent="-304770" algn="l" defTabSz="1219078"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09" indent="-304770" algn="l" defTabSz="1219078"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848" indent="-304770" algn="l" defTabSz="1219078" rtl="0" eaLnBrk="1" latinLnBrk="0" hangingPunct="1">
        <a:lnSpc>
          <a:spcPct val="90000"/>
        </a:lnSpc>
        <a:spcBef>
          <a:spcPts val="667"/>
        </a:spcBef>
        <a:buFont typeface="Arial" panose="020B0604020202020204" pitchFamily="34" charset="0"/>
        <a:buChar char="•"/>
        <a:defRPr sz="2666" kern="1200">
          <a:solidFill>
            <a:schemeClr val="tx1"/>
          </a:solidFill>
          <a:latin typeface="+mn-lt"/>
          <a:ea typeface="+mn-ea"/>
          <a:cs typeface="+mn-cs"/>
        </a:defRPr>
      </a:lvl3pPr>
      <a:lvl4pPr marL="2133387"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2926"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465"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04"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43"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082" indent="-304770" algn="l" defTabSz="121907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jpeg"/><Relationship Id="rId12"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139.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95.xml"/></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94.xml"/></Relationships>
</file>

<file path=ppt/slides/_rels/slide1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96.xml"/><Relationship Id="rId4" Type="http://schemas.openxmlformats.org/officeDocument/2006/relationships/image" Target="../media/image67.jpeg"/></Relationships>
</file>

<file path=ppt/slides/_rels/slide14.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4.xml"/></Relationships>
</file>

<file path=ppt/slides/_rels/slide2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4.xml"/></Relationships>
</file>

<file path=ppt/slides/_rels/slide22.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14.xml"/><Relationship Id="rId1" Type="http://schemas.openxmlformats.org/officeDocument/2006/relationships/slideLayout" Target="../slideLayouts/slideLayout94.xml"/><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2.xml"/></Relationships>
</file>

<file path=ppt/slides/_rels/slide32.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6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1.xml"/><Relationship Id="rId1" Type="http://schemas.openxmlformats.org/officeDocument/2006/relationships/slideLayout" Target="../slideLayouts/slideLayout6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2.xml"/><Relationship Id="rId1" Type="http://schemas.openxmlformats.org/officeDocument/2006/relationships/slideLayout" Target="../slideLayouts/slideLayout6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5.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3.xml"/><Relationship Id="rId1" Type="http://schemas.openxmlformats.org/officeDocument/2006/relationships/slideLayout" Target="../slideLayouts/slideLayout6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6.xml.rels><?xml version="1.0" encoding="UTF-8" standalone="yes"?>
<Relationships xmlns="http://schemas.openxmlformats.org/package/2006/relationships"><Relationship Id="rId8" Type="http://schemas.openxmlformats.org/officeDocument/2006/relationships/image" Target="../media/image88.sv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124.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1.xml"/></Relationships>
</file>

<file path=ppt/slides/_rels/slide4.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3.xml"/><Relationship Id="rId1" Type="http://schemas.openxmlformats.org/officeDocument/2006/relationships/slideLayout" Target="../slideLayouts/slideLayout14.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4.xml"/><Relationship Id="rId1" Type="http://schemas.openxmlformats.org/officeDocument/2006/relationships/slideLayout" Target="../slideLayouts/slideLayout94.xml"/></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51.png"/><Relationship Id="rId3" Type="http://schemas.openxmlformats.org/officeDocument/2006/relationships/image" Target="../media/image34.png"/><Relationship Id="rId7" Type="http://schemas.openxmlformats.org/officeDocument/2006/relationships/image" Target="../media/image38.jpeg"/><Relationship Id="rId12"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image" Target="../media/image36.png"/><Relationship Id="rId15" Type="http://schemas.openxmlformats.org/officeDocument/2006/relationships/image" Target="../media/image53.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52.pn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94.xml"/><Relationship Id="rId5" Type="http://schemas.openxmlformats.org/officeDocument/2006/relationships/image" Target="../media/image62.png"/><Relationship Id="rId4" Type="http://schemas.openxmlformats.org/officeDocument/2006/relationships/image" Target="../media/image61.png"/></Relationships>
</file>

<file path=ppt/slides/_rels/slide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xml"/><Relationship Id="rId1"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EF062C68-E982-59E3-623A-E2F5BE9477C5}"/>
              </a:ext>
            </a:extLst>
          </p:cNvPr>
          <p:cNvSpPr/>
          <p:nvPr/>
        </p:nvSpPr>
        <p:spPr>
          <a:xfrm>
            <a:off x="1919962" y="444904"/>
            <a:ext cx="2816676" cy="913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ekstSylinder 1">
            <a:extLst>
              <a:ext uri="{FF2B5EF4-FFF2-40B4-BE49-F238E27FC236}">
                <a16:creationId xmlns:a16="http://schemas.microsoft.com/office/drawing/2014/main" id="{ED93FDE7-6958-47F4-8C98-BB51C03C7C11}"/>
              </a:ext>
            </a:extLst>
          </p:cNvPr>
          <p:cNvSpPr txBox="1"/>
          <p:nvPr/>
        </p:nvSpPr>
        <p:spPr>
          <a:xfrm>
            <a:off x="4170542" y="4572000"/>
            <a:ext cx="11011401" cy="1869743"/>
          </a:xfrm>
          <a:prstGeom prst="rect">
            <a:avLst/>
          </a:prstGeom>
          <a:noFill/>
        </p:spPr>
        <p:txBody>
          <a:bodyPr wrap="square" lIns="91440" tIns="45720" rIns="91440" bIns="45720" rtlCol="0" anchor="t">
            <a:sp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8750" b="0" i="0" u="none" strike="noStrike" kern="1200" cap="none" spc="0" normalizeH="0" baseline="0" noProof="0" dirty="0">
                <a:ln>
                  <a:noFill/>
                </a:ln>
                <a:solidFill>
                  <a:prstClr val="white"/>
                </a:solidFill>
                <a:effectLst/>
                <a:uLnTx/>
                <a:uFillTx/>
                <a:latin typeface="Arial"/>
                <a:ea typeface="+mn-ea"/>
                <a:cs typeface="Arial"/>
              </a:rPr>
              <a:t>Nasjonale grunndata</a:t>
            </a:r>
          </a:p>
          <a:p>
            <a:pPr marL="0" marR="0" lvl="0" indent="0" algn="ctr" defTabSz="1219078"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dirty="0">
                <a:ln>
                  <a:noFill/>
                </a:ln>
                <a:solidFill>
                  <a:prstClr val="white"/>
                </a:solidFill>
                <a:effectLst/>
                <a:uLnTx/>
                <a:uFillTx/>
                <a:latin typeface="Arial"/>
                <a:ea typeface="+mn-ea"/>
                <a:cs typeface="Arial"/>
              </a:rPr>
              <a:t>Nettverkssamling for datadrevet offentlig sektor 7. november</a:t>
            </a:r>
            <a:endParaRPr kumimoji="0" lang="nb-NO"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5" name="Gruppe 4">
            <a:extLst>
              <a:ext uri="{FF2B5EF4-FFF2-40B4-BE49-F238E27FC236}">
                <a16:creationId xmlns:a16="http://schemas.microsoft.com/office/drawing/2014/main" id="{DF4A33D2-7CD6-B672-A7A2-659F735CD62F}"/>
              </a:ext>
            </a:extLst>
          </p:cNvPr>
          <p:cNvGrpSpPr/>
          <p:nvPr/>
        </p:nvGrpSpPr>
        <p:grpSpPr>
          <a:xfrm>
            <a:off x="283323" y="223489"/>
            <a:ext cx="6878112" cy="3508260"/>
            <a:chOff x="283323" y="223489"/>
            <a:chExt cx="6878112" cy="3508260"/>
          </a:xfrm>
        </p:grpSpPr>
        <p:pic>
          <p:nvPicPr>
            <p:cNvPr id="1026" name="Picture 2">
              <a:extLst>
                <a:ext uri="{FF2B5EF4-FFF2-40B4-BE49-F238E27FC236}">
                  <a16:creationId xmlns:a16="http://schemas.microsoft.com/office/drawing/2014/main" id="{D7763F1C-9905-E914-F07F-C8C8124EAC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2665" y="2691557"/>
              <a:ext cx="2468925" cy="448457"/>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uppe 3">
              <a:extLst>
                <a:ext uri="{FF2B5EF4-FFF2-40B4-BE49-F238E27FC236}">
                  <a16:creationId xmlns:a16="http://schemas.microsoft.com/office/drawing/2014/main" id="{EF2DCA66-3347-DFDF-7CB7-E156E90CBAB1}"/>
                </a:ext>
              </a:extLst>
            </p:cNvPr>
            <p:cNvGrpSpPr/>
            <p:nvPr/>
          </p:nvGrpSpPr>
          <p:grpSpPr>
            <a:xfrm>
              <a:off x="283323" y="223489"/>
              <a:ext cx="6878112" cy="3508260"/>
              <a:chOff x="283323" y="223489"/>
              <a:chExt cx="6878112" cy="3508260"/>
            </a:xfrm>
          </p:grpSpPr>
          <p:grpSp>
            <p:nvGrpSpPr>
              <p:cNvPr id="11" name="Gruppe 10">
                <a:extLst>
                  <a:ext uri="{FF2B5EF4-FFF2-40B4-BE49-F238E27FC236}">
                    <a16:creationId xmlns:a16="http://schemas.microsoft.com/office/drawing/2014/main" id="{EB85D0C2-4D5A-E1C3-E9AA-C732930E3C15}"/>
                  </a:ext>
                </a:extLst>
              </p:cNvPr>
              <p:cNvGrpSpPr/>
              <p:nvPr/>
            </p:nvGrpSpPr>
            <p:grpSpPr>
              <a:xfrm>
                <a:off x="283323" y="223489"/>
                <a:ext cx="6878112" cy="2983774"/>
                <a:chOff x="818568" y="2251279"/>
                <a:chExt cx="5159088" cy="2238049"/>
              </a:xfrm>
            </p:grpSpPr>
            <p:grpSp>
              <p:nvGrpSpPr>
                <p:cNvPr id="13" name="Gruppe 12">
                  <a:extLst>
                    <a:ext uri="{FF2B5EF4-FFF2-40B4-BE49-F238E27FC236}">
                      <a16:creationId xmlns:a16="http://schemas.microsoft.com/office/drawing/2014/main" id="{C70C3F59-C293-620D-5A5B-B1D9C6F8F654}"/>
                    </a:ext>
                  </a:extLst>
                </p:cNvPr>
                <p:cNvGrpSpPr/>
                <p:nvPr/>
              </p:nvGrpSpPr>
              <p:grpSpPr>
                <a:xfrm>
                  <a:off x="818568" y="2251279"/>
                  <a:ext cx="5159088" cy="2238049"/>
                  <a:chOff x="-165681" y="783661"/>
                  <a:chExt cx="5159088" cy="2238049"/>
                </a:xfrm>
              </p:grpSpPr>
              <p:grpSp>
                <p:nvGrpSpPr>
                  <p:cNvPr id="15" name="Gruppe 14">
                    <a:extLst>
                      <a:ext uri="{FF2B5EF4-FFF2-40B4-BE49-F238E27FC236}">
                        <a16:creationId xmlns:a16="http://schemas.microsoft.com/office/drawing/2014/main" id="{A75DD6A7-BF39-0112-877E-74BEC8248CD1}"/>
                      </a:ext>
                    </a:extLst>
                  </p:cNvPr>
                  <p:cNvGrpSpPr/>
                  <p:nvPr/>
                </p:nvGrpSpPr>
                <p:grpSpPr>
                  <a:xfrm>
                    <a:off x="-102640" y="882558"/>
                    <a:ext cx="5096047" cy="2139152"/>
                    <a:chOff x="2269885" y="2816661"/>
                    <a:chExt cx="7323359" cy="3169122"/>
                  </a:xfrm>
                </p:grpSpPr>
                <p:grpSp>
                  <p:nvGrpSpPr>
                    <p:cNvPr id="17" name="Gruppe 16">
                      <a:extLst>
                        <a:ext uri="{FF2B5EF4-FFF2-40B4-BE49-F238E27FC236}">
                          <a16:creationId xmlns:a16="http://schemas.microsoft.com/office/drawing/2014/main" id="{2092BC4B-C7F6-636B-C23C-5BE6FA143602}"/>
                        </a:ext>
                      </a:extLst>
                    </p:cNvPr>
                    <p:cNvGrpSpPr/>
                    <p:nvPr/>
                  </p:nvGrpSpPr>
                  <p:grpSpPr>
                    <a:xfrm>
                      <a:off x="2269885" y="2816661"/>
                      <a:ext cx="7323359" cy="2412951"/>
                      <a:chOff x="-242264" y="1119048"/>
                      <a:chExt cx="6447068" cy="2022425"/>
                    </a:xfrm>
                  </p:grpSpPr>
                  <p:pic>
                    <p:nvPicPr>
                      <p:cNvPr id="19" name="Picture 4" descr="Se kildebildet">
                        <a:extLst>
                          <a:ext uri="{FF2B5EF4-FFF2-40B4-BE49-F238E27FC236}">
                            <a16:creationId xmlns:a16="http://schemas.microsoft.com/office/drawing/2014/main" id="{46191742-B000-AE03-832F-26EA4BF387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643" y="2462760"/>
                        <a:ext cx="3080161" cy="37361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Se kildebildet">
                        <a:extLst>
                          <a:ext uri="{FF2B5EF4-FFF2-40B4-BE49-F238E27FC236}">
                            <a16:creationId xmlns:a16="http://schemas.microsoft.com/office/drawing/2014/main" id="{F3F935C4-1134-4F79-255B-44CA2D1144A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0186" y="1119048"/>
                        <a:ext cx="858856" cy="103861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Bilderesultat for nav logo">
                        <a:extLst>
                          <a:ext uri="{FF2B5EF4-FFF2-40B4-BE49-F238E27FC236}">
                            <a16:creationId xmlns:a16="http://schemas.microsoft.com/office/drawing/2014/main" id="{6F50C055-D557-8CD5-401E-479FD4AFCFD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76283" y="1119048"/>
                        <a:ext cx="1296722" cy="9946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Bilderesultat for halden kommune">
                        <a:extLst>
                          <a:ext uri="{FF2B5EF4-FFF2-40B4-BE49-F238E27FC236}">
                            <a16:creationId xmlns:a16="http://schemas.microsoft.com/office/drawing/2014/main" id="{F9FB3CFD-28A1-FEEE-50C1-EE905664D62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2264" y="2102856"/>
                        <a:ext cx="950143" cy="1038617"/>
                      </a:xfrm>
                      <a:prstGeom prst="rect">
                        <a:avLst/>
                      </a:prstGeom>
                      <a:noFill/>
                      <a:extLst>
                        <a:ext uri="{909E8E84-426E-40DD-AFC4-6F175D3DCCD1}">
                          <a14:hiddenFill xmlns:a14="http://schemas.microsoft.com/office/drawing/2010/main">
                            <a:solidFill>
                              <a:srgbClr val="FFFFFF"/>
                            </a:solidFill>
                          </a14:hiddenFill>
                        </a:ext>
                      </a:extLst>
                    </p:spPr>
                  </p:pic>
                  <p:pic>
                    <p:nvPicPr>
                      <p:cNvPr id="23" name="Bilde 22">
                        <a:extLst>
                          <a:ext uri="{FF2B5EF4-FFF2-40B4-BE49-F238E27FC236}">
                            <a16:creationId xmlns:a16="http://schemas.microsoft.com/office/drawing/2014/main" id="{5ACC0246-051E-D223-402A-3066DFED238D}"/>
                          </a:ext>
                        </a:extLst>
                      </p:cNvPr>
                      <p:cNvPicPr>
                        <a:picLocks noChangeAspect="1"/>
                      </p:cNvPicPr>
                      <p:nvPr/>
                    </p:nvPicPr>
                    <p:blipFill>
                      <a:blip r:embed="rId8"/>
                      <a:stretch>
                        <a:fillRect/>
                      </a:stretch>
                    </p:blipFill>
                    <p:spPr>
                      <a:xfrm>
                        <a:off x="976980" y="2295226"/>
                        <a:ext cx="1978409" cy="708684"/>
                      </a:xfrm>
                      <a:prstGeom prst="rect">
                        <a:avLst/>
                      </a:prstGeom>
                    </p:spPr>
                  </p:pic>
                </p:grpSp>
                <p:pic>
                  <p:nvPicPr>
                    <p:cNvPr id="18" name="Bilde 17">
                      <a:extLst>
                        <a:ext uri="{FF2B5EF4-FFF2-40B4-BE49-F238E27FC236}">
                          <a16:creationId xmlns:a16="http://schemas.microsoft.com/office/drawing/2014/main" id="{AC0961F1-6363-ACFF-0331-C2B851D87F40}"/>
                        </a:ext>
                      </a:extLst>
                    </p:cNvPr>
                    <p:cNvPicPr>
                      <a:picLocks noChangeAspect="1"/>
                    </p:cNvPicPr>
                    <p:nvPr/>
                  </p:nvPicPr>
                  <p:blipFill>
                    <a:blip r:embed="rId9"/>
                    <a:stretch>
                      <a:fillRect/>
                    </a:stretch>
                  </p:blipFill>
                  <p:spPr>
                    <a:xfrm>
                      <a:off x="2429168" y="5337993"/>
                      <a:ext cx="1886215" cy="647790"/>
                    </a:xfrm>
                    <a:prstGeom prst="rect">
                      <a:avLst/>
                    </a:prstGeom>
                  </p:spPr>
                </p:pic>
              </p:grpSp>
              <p:pic>
                <p:nvPicPr>
                  <p:cNvPr id="16" name="Picture 2">
                    <a:extLst>
                      <a:ext uri="{FF2B5EF4-FFF2-40B4-BE49-F238E27FC236}">
                        <a16:creationId xmlns:a16="http://schemas.microsoft.com/office/drawing/2014/main" id="{C7C0671A-A2DA-8EA1-9218-12CFFE2A333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5681" y="783661"/>
                    <a:ext cx="959873" cy="1004762"/>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2">
                  <a:extLst>
                    <a:ext uri="{FF2B5EF4-FFF2-40B4-BE49-F238E27FC236}">
                      <a16:creationId xmlns:a16="http://schemas.microsoft.com/office/drawing/2014/main" id="{A113C8D7-7942-D479-B080-BECC5A77BD7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50108"/>
                <a:stretch/>
              </p:blipFill>
              <p:spPr bwMode="auto">
                <a:xfrm>
                  <a:off x="4473493" y="2419501"/>
                  <a:ext cx="686929" cy="688423"/>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Bilde 2" descr="Et bilde som inneholder Font, Grafikk, skjermbilde, grafisk design&#10;&#10;Automatisk generert beskrivelse">
                <a:extLst>
                  <a:ext uri="{FF2B5EF4-FFF2-40B4-BE49-F238E27FC236}">
                    <a16:creationId xmlns:a16="http://schemas.microsoft.com/office/drawing/2014/main" id="{1FF481CF-8CC6-D286-30FE-CA25949F790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15140" y="3388367"/>
                <a:ext cx="2630904" cy="343382"/>
              </a:xfrm>
              <a:prstGeom prst="rect">
                <a:avLst/>
              </a:prstGeom>
            </p:spPr>
          </p:pic>
        </p:grpSp>
      </p:grpSp>
    </p:spTree>
    <p:extLst>
      <p:ext uri="{BB962C8B-B14F-4D97-AF65-F5344CB8AC3E}">
        <p14:creationId xmlns:p14="http://schemas.microsoft.com/office/powerpoint/2010/main" val="7209356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DB6C2845-9D3E-C268-5A60-0A4011A18C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0751" y="2361644"/>
            <a:ext cx="6270513" cy="4420712"/>
          </a:xfrm>
          <a:prstGeom prst="rect">
            <a:avLst/>
          </a:prstGeom>
          <a:noFill/>
        </p:spPr>
      </p:pic>
      <p:sp>
        <p:nvSpPr>
          <p:cNvPr id="3" name="Tittel 2">
            <a:extLst>
              <a:ext uri="{FF2B5EF4-FFF2-40B4-BE49-F238E27FC236}">
                <a16:creationId xmlns:a16="http://schemas.microsoft.com/office/drawing/2014/main" id="{FEB7EB89-1CFB-FBD1-E6FE-B3546FF0C4FE}"/>
              </a:ext>
            </a:extLst>
          </p:cNvPr>
          <p:cNvSpPr>
            <a:spLocks noGrp="1"/>
          </p:cNvSpPr>
          <p:nvPr>
            <p:ph type="title"/>
          </p:nvPr>
        </p:nvSpPr>
        <p:spPr>
          <a:xfrm>
            <a:off x="1069975" y="1269924"/>
            <a:ext cx="14114462" cy="692430"/>
          </a:xfrm>
        </p:spPr>
        <p:txBody>
          <a:bodyPr anchor="t">
            <a:normAutofit/>
          </a:bodyPr>
          <a:lstStyle/>
          <a:p>
            <a:r>
              <a:rPr lang="nb-NO" sz="4800" dirty="0"/>
              <a:t>Utviklingstrekk</a:t>
            </a:r>
          </a:p>
        </p:txBody>
      </p:sp>
      <p:sp>
        <p:nvSpPr>
          <p:cNvPr id="7" name="TekstSylinder 6">
            <a:extLst>
              <a:ext uri="{FF2B5EF4-FFF2-40B4-BE49-F238E27FC236}">
                <a16:creationId xmlns:a16="http://schemas.microsoft.com/office/drawing/2014/main" id="{E1E7BF8B-D6A9-C0F0-BEAC-1F7D978CBA92}"/>
              </a:ext>
            </a:extLst>
          </p:cNvPr>
          <p:cNvSpPr txBox="1"/>
          <p:nvPr/>
        </p:nvSpPr>
        <p:spPr>
          <a:xfrm>
            <a:off x="7289608" y="1510969"/>
            <a:ext cx="8268019" cy="6122061"/>
          </a:xfrm>
          <a:prstGeom prst="rect">
            <a:avLst/>
          </a:prstGeom>
          <a:noFill/>
          <a:ln>
            <a:noFill/>
          </a:ln>
        </p:spPr>
        <p:txBody>
          <a:bodyPr wrap="square" anchor="ctr">
            <a:spAutoFit/>
          </a:bodyPr>
          <a:lstStyle/>
          <a:p>
            <a:pPr defTabSz="1219078">
              <a:defRPr/>
            </a:pPr>
            <a:r>
              <a:rPr lang="nb-NO" sz="1866" dirty="0">
                <a:solidFill>
                  <a:srgbClr val="1E2B3C"/>
                </a:solidFill>
                <a:latin typeface="Arial" panose="020B0604020202020204"/>
              </a:rPr>
              <a:t>Datakildene som har status som nasjonale felleskomponenter (Folkeregisteret, Matrikkelen, Enhetsregisteret og Kontakt- og reservasjonsregisteret) er alle underlagt regelverk som er utformet for å tilrettelegge for flerbruk - de er skapt og forvaltes for å legge til rette for deling. De skal med det ha tilstrekkelig rom til å innhente og dele informasjon med andre. De eksisterer likevel i et samspill med andre datakilder som fungerer som satellitter med ytterligere informasjon som er nødvendig for konsumentene. </a:t>
            </a:r>
          </a:p>
          <a:p>
            <a:pPr defTabSz="1219078">
              <a:defRPr/>
            </a:pPr>
            <a:endParaRPr lang="nb-NO" sz="1866" dirty="0">
              <a:solidFill>
                <a:srgbClr val="1E2B3C"/>
              </a:solidFill>
              <a:latin typeface="Arial" panose="020B0604020202020204"/>
            </a:endParaRPr>
          </a:p>
          <a:p>
            <a:pPr defTabSz="1219078">
              <a:defRPr/>
            </a:pPr>
            <a:r>
              <a:rPr lang="nb-NO" sz="1866" dirty="0">
                <a:solidFill>
                  <a:srgbClr val="1E2B3C"/>
                </a:solidFill>
                <a:latin typeface="Arial" panose="020B0604020202020204"/>
              </a:rPr>
              <a:t>Konsumenter av data har i et stadig økende omfang behov for data fra en rekke tilbydere og kilder, ofte i kombinasjon med data fra ulike kilder og gjerne i kombinasjon med data fra dagens felleskomponenter. Det ikke bare felleskomponenter som tilbyr grunndata. Det vil si at vi får en mer desentralisert modell som trenger enkle finansieringsmodeller for dem som tilbyr grunndata.</a:t>
            </a:r>
          </a:p>
          <a:p>
            <a:pPr defTabSz="1219078">
              <a:defRPr/>
            </a:pPr>
            <a:endParaRPr lang="nb-NO" sz="1866" dirty="0">
              <a:solidFill>
                <a:srgbClr val="1E2B3C"/>
              </a:solidFill>
              <a:latin typeface="Arial" panose="020B0604020202020204"/>
            </a:endParaRPr>
          </a:p>
          <a:p>
            <a:pPr defTabSz="1219078">
              <a:defRPr/>
            </a:pPr>
            <a:r>
              <a:rPr lang="nb-NO" sz="1866" dirty="0">
                <a:solidFill>
                  <a:srgbClr val="1E2B3C"/>
                </a:solidFill>
                <a:latin typeface="Arial" panose="020B0604020202020204"/>
              </a:rPr>
              <a:t>Med behovet for mer data fra flere, ulike tilbydere og kilder øker også behovet for enkel, stabil tilgang til data med avklart kvalitet. Forutsigbare støtteprosesser og -funksjoner for å holde kompleksitet og administrasjon på et håndterbart nivå blir også nødvendig</a:t>
            </a:r>
          </a:p>
          <a:p>
            <a:pPr defTabSz="1219078">
              <a:defRPr/>
            </a:pPr>
            <a:endParaRPr lang="nb-NO" sz="1866" dirty="0">
              <a:solidFill>
                <a:srgbClr val="1E2B3C"/>
              </a:solidFill>
              <a:latin typeface="Arial" panose="020B0604020202020204"/>
            </a:endParaRPr>
          </a:p>
        </p:txBody>
      </p:sp>
    </p:spTree>
    <p:extLst>
      <p:ext uri="{BB962C8B-B14F-4D97-AF65-F5344CB8AC3E}">
        <p14:creationId xmlns:p14="http://schemas.microsoft.com/office/powerpoint/2010/main" val="21139414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1B28880C-4410-1952-174D-8D7C4736C763}"/>
              </a:ext>
            </a:extLst>
          </p:cNvPr>
          <p:cNvSpPr>
            <a:spLocks noGrp="1"/>
          </p:cNvSpPr>
          <p:nvPr>
            <p:ph idx="1"/>
          </p:nvPr>
        </p:nvSpPr>
        <p:spPr>
          <a:xfrm>
            <a:off x="1638674" y="2361644"/>
            <a:ext cx="6891371" cy="5944469"/>
          </a:xfrm>
        </p:spPr>
        <p:txBody>
          <a:bodyPr>
            <a:normAutofit/>
          </a:bodyPr>
          <a:lstStyle/>
          <a:p>
            <a:pPr marL="0" indent="0">
              <a:buNone/>
            </a:pPr>
            <a:r>
              <a:rPr lang="nb-NO" sz="2000" dirty="0">
                <a:ea typeface="Times New Roman" panose="02020603050405020304" pitchFamily="18" charset="0"/>
              </a:rPr>
              <a:t>Teknologisk utvikling gjør at viktige data kan forvaltes kildenært og utveksles fra fagsystemer, og ikke trenger å overføres til en sentral forvalter</a:t>
            </a:r>
            <a:endParaRPr lang="nb-NO" sz="2000" dirty="0">
              <a:ea typeface="Times New Roman" panose="02020603050405020304" pitchFamily="18" charset="0"/>
              <a:cs typeface="Times New Roman" panose="02020603050405020304" pitchFamily="18" charset="0"/>
            </a:endParaRPr>
          </a:p>
          <a:p>
            <a:pPr marL="0" indent="0">
              <a:buNone/>
            </a:pPr>
            <a:r>
              <a:rPr lang="nb-NO" sz="2000" dirty="0"/>
              <a:t>Fagsystemer er ikke lengre endepunkter for data de har mottatt sentralt, men kan potensielt være like sentrale som dagens registre. Spesielt er teknologisk utvikling med flere skybaserte løsninger viktig. Dataene lever i praksis i skyen og kan utveksles, hvis grensesnittene standardiseres.</a:t>
            </a:r>
          </a:p>
          <a:p>
            <a:pPr marL="0" indent="0">
              <a:buNone/>
            </a:pPr>
            <a:r>
              <a:rPr lang="nb-NO" sz="2000" dirty="0"/>
              <a:t>Konsekvensen er at systemer ikke nødvendigvis trenger å sende data til et sentralt register, men hentes direkte fra fagsystemene.</a:t>
            </a:r>
          </a:p>
          <a:p>
            <a:pPr marL="0" indent="0">
              <a:buNone/>
            </a:pPr>
            <a:r>
              <a:rPr lang="nb-NO" sz="2000" dirty="0"/>
              <a:t>Gode eksempler er regnskapssystemer for </a:t>
            </a:r>
            <a:r>
              <a:rPr lang="nb-NO" sz="2000" dirty="0" err="1"/>
              <a:t>SMBer</a:t>
            </a:r>
            <a:r>
              <a:rPr lang="nb-NO" sz="2000" dirty="0"/>
              <a:t> som stort sett er skybaserte eller oppslag av saldo som gjøres direkte mot bankenes API fremfor å mot et sentralt saldoregister</a:t>
            </a:r>
          </a:p>
        </p:txBody>
      </p:sp>
      <p:sp>
        <p:nvSpPr>
          <p:cNvPr id="3" name="Tittel 2">
            <a:extLst>
              <a:ext uri="{FF2B5EF4-FFF2-40B4-BE49-F238E27FC236}">
                <a16:creationId xmlns:a16="http://schemas.microsoft.com/office/drawing/2014/main" id="{FEB7EB89-1CFB-FBD1-E6FE-B3546FF0C4FE}"/>
              </a:ext>
            </a:extLst>
          </p:cNvPr>
          <p:cNvSpPr>
            <a:spLocks noGrp="1"/>
          </p:cNvSpPr>
          <p:nvPr>
            <p:ph type="title"/>
          </p:nvPr>
        </p:nvSpPr>
        <p:spPr/>
        <p:txBody>
          <a:bodyPr/>
          <a:lstStyle/>
          <a:p>
            <a:r>
              <a:rPr lang="nb-NO" sz="4800" dirty="0"/>
              <a:t>Utviklingstrekk</a:t>
            </a:r>
          </a:p>
        </p:txBody>
      </p:sp>
      <p:pic>
        <p:nvPicPr>
          <p:cNvPr id="4" name="Bilde 3">
            <a:extLst>
              <a:ext uri="{FF2B5EF4-FFF2-40B4-BE49-F238E27FC236}">
                <a16:creationId xmlns:a16="http://schemas.microsoft.com/office/drawing/2014/main" id="{8A5F13E2-EE51-DA9B-FBA0-913A3A5715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01229" y="2361644"/>
            <a:ext cx="6270513" cy="4420712"/>
          </a:xfrm>
          <a:prstGeom prst="rect">
            <a:avLst/>
          </a:prstGeom>
          <a:noFill/>
        </p:spPr>
      </p:pic>
    </p:spTree>
    <p:extLst>
      <p:ext uri="{BB962C8B-B14F-4D97-AF65-F5344CB8AC3E}">
        <p14:creationId xmlns:p14="http://schemas.microsoft.com/office/powerpoint/2010/main" val="995262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2032" y="447"/>
            <a:ext cx="16250349" cy="9143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078">
              <a:defRPr/>
            </a:pPr>
            <a:endParaRPr lang="en-US" sz="2400">
              <a:solidFill>
                <a:prstClr val="white"/>
              </a:solidFill>
              <a:latin typeface="Calibri" panose="020F0502020204030204"/>
            </a:endParaRPr>
          </a:p>
        </p:txBody>
      </p:sp>
      <p:pic>
        <p:nvPicPr>
          <p:cNvPr id="3" name="Bilde 2">
            <a:extLst>
              <a:ext uri="{FF2B5EF4-FFF2-40B4-BE49-F238E27FC236}">
                <a16:creationId xmlns:a16="http://schemas.microsoft.com/office/drawing/2014/main" id="{7E21BE8F-1AB5-5D99-0E3F-201D11A94330}"/>
              </a:ext>
            </a:extLst>
          </p:cNvPr>
          <p:cNvPicPr>
            <a:picLocks noChangeAspect="1"/>
          </p:cNvPicPr>
          <p:nvPr/>
        </p:nvPicPr>
        <p:blipFill rotWithShape="1">
          <a:blip r:embed="rId2"/>
          <a:srcRect b="19"/>
          <a:stretch/>
        </p:blipFill>
        <p:spPr>
          <a:xfrm>
            <a:off x="26" y="2156"/>
            <a:ext cx="16254386" cy="9141398"/>
          </a:xfrm>
          <a:prstGeom prst="rect">
            <a:avLst/>
          </a:prstGeom>
          <a:solidFill>
            <a:srgbClr val="E5AA20"/>
          </a:solidFill>
        </p:spPr>
      </p:pic>
    </p:spTree>
    <p:extLst>
      <p:ext uri="{BB962C8B-B14F-4D97-AF65-F5344CB8AC3E}">
        <p14:creationId xmlns:p14="http://schemas.microsoft.com/office/powerpoint/2010/main" val="39051594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0B28AA33-11AA-ABD5-73A0-462702FFAF0D}"/>
              </a:ext>
            </a:extLst>
          </p:cNvPr>
          <p:cNvPicPr>
            <a:picLocks noChangeAspect="1"/>
          </p:cNvPicPr>
          <p:nvPr/>
        </p:nvPicPr>
        <p:blipFill>
          <a:blip r:embed="rId3"/>
          <a:stretch>
            <a:fillRect/>
          </a:stretch>
        </p:blipFill>
        <p:spPr>
          <a:xfrm>
            <a:off x="10733892" y="60592"/>
            <a:ext cx="5520521" cy="3601370"/>
          </a:xfrm>
          <a:prstGeom prst="rect">
            <a:avLst/>
          </a:prstGeom>
        </p:spPr>
      </p:pic>
      <p:sp>
        <p:nvSpPr>
          <p:cNvPr id="3" name="Tittel 2">
            <a:extLst>
              <a:ext uri="{FF2B5EF4-FFF2-40B4-BE49-F238E27FC236}">
                <a16:creationId xmlns:a16="http://schemas.microsoft.com/office/drawing/2014/main" id="{63061E64-9F83-B24C-3491-D1C04BC29FBD}"/>
              </a:ext>
            </a:extLst>
          </p:cNvPr>
          <p:cNvSpPr>
            <a:spLocks noGrp="1"/>
          </p:cNvSpPr>
          <p:nvPr>
            <p:ph type="title" idx="4294967295"/>
          </p:nvPr>
        </p:nvSpPr>
        <p:spPr>
          <a:xfrm>
            <a:off x="528268" y="730626"/>
            <a:ext cx="14114672" cy="692082"/>
          </a:xfrm>
        </p:spPr>
        <p:txBody>
          <a:bodyPr anchor="t">
            <a:normAutofit/>
          </a:bodyPr>
          <a:lstStyle/>
          <a:p>
            <a:r>
              <a:rPr lang="nb-NO" sz="4800" b="1"/>
              <a:t>Utfordringer</a:t>
            </a:r>
          </a:p>
        </p:txBody>
      </p:sp>
      <p:sp>
        <p:nvSpPr>
          <p:cNvPr id="7" name="Rektangel: avrundede hjørner 6">
            <a:extLst>
              <a:ext uri="{FF2B5EF4-FFF2-40B4-BE49-F238E27FC236}">
                <a16:creationId xmlns:a16="http://schemas.microsoft.com/office/drawing/2014/main" id="{19AEE687-6343-C25E-D43A-A333536724C8}"/>
              </a:ext>
            </a:extLst>
          </p:cNvPr>
          <p:cNvSpPr/>
          <p:nvPr/>
        </p:nvSpPr>
        <p:spPr>
          <a:xfrm>
            <a:off x="6175226" y="2919826"/>
            <a:ext cx="3903960" cy="1639954"/>
          </a:xfrm>
          <a:custGeom>
            <a:avLst/>
            <a:gdLst>
              <a:gd name="connsiteX0" fmla="*/ 0 w 3903960"/>
              <a:gd name="connsiteY0" fmla="*/ 273331 h 1639954"/>
              <a:gd name="connsiteX1" fmla="*/ 273331 w 3903960"/>
              <a:gd name="connsiteY1" fmla="*/ 0 h 1639954"/>
              <a:gd name="connsiteX2" fmla="*/ 732162 w 3903960"/>
              <a:gd name="connsiteY2" fmla="*/ 0 h 1639954"/>
              <a:gd name="connsiteX3" fmla="*/ 1325284 w 3903960"/>
              <a:gd name="connsiteY3" fmla="*/ 0 h 1639954"/>
              <a:gd name="connsiteX4" fmla="*/ 1817688 w 3903960"/>
              <a:gd name="connsiteY4" fmla="*/ 0 h 1639954"/>
              <a:gd name="connsiteX5" fmla="*/ 2276519 w 3903960"/>
              <a:gd name="connsiteY5" fmla="*/ 0 h 1639954"/>
              <a:gd name="connsiteX6" fmla="*/ 2836068 w 3903960"/>
              <a:gd name="connsiteY6" fmla="*/ 0 h 1639954"/>
              <a:gd name="connsiteX7" fmla="*/ 3630629 w 3903960"/>
              <a:gd name="connsiteY7" fmla="*/ 0 h 1639954"/>
              <a:gd name="connsiteX8" fmla="*/ 3903960 w 3903960"/>
              <a:gd name="connsiteY8" fmla="*/ 273331 h 1639954"/>
              <a:gd name="connsiteX9" fmla="*/ 3903960 w 3903960"/>
              <a:gd name="connsiteY9" fmla="*/ 819977 h 1639954"/>
              <a:gd name="connsiteX10" fmla="*/ 3903960 w 3903960"/>
              <a:gd name="connsiteY10" fmla="*/ 1366623 h 1639954"/>
              <a:gd name="connsiteX11" fmla="*/ 3630629 w 3903960"/>
              <a:gd name="connsiteY11" fmla="*/ 1639954 h 1639954"/>
              <a:gd name="connsiteX12" fmla="*/ 3104652 w 3903960"/>
              <a:gd name="connsiteY12" fmla="*/ 1639954 h 1639954"/>
              <a:gd name="connsiteX13" fmla="*/ 2545103 w 3903960"/>
              <a:gd name="connsiteY13" fmla="*/ 1639954 h 1639954"/>
              <a:gd name="connsiteX14" fmla="*/ 2019126 w 3903960"/>
              <a:gd name="connsiteY14" fmla="*/ 1639954 h 1639954"/>
              <a:gd name="connsiteX15" fmla="*/ 1560295 w 3903960"/>
              <a:gd name="connsiteY15" fmla="*/ 1639954 h 1639954"/>
              <a:gd name="connsiteX16" fmla="*/ 1067892 w 3903960"/>
              <a:gd name="connsiteY16" fmla="*/ 1639954 h 1639954"/>
              <a:gd name="connsiteX17" fmla="*/ 273331 w 3903960"/>
              <a:gd name="connsiteY17" fmla="*/ 1639954 h 1639954"/>
              <a:gd name="connsiteX18" fmla="*/ 0 w 3903960"/>
              <a:gd name="connsiteY18" fmla="*/ 1366623 h 1639954"/>
              <a:gd name="connsiteX19" fmla="*/ 0 w 3903960"/>
              <a:gd name="connsiteY19" fmla="*/ 830910 h 1639954"/>
              <a:gd name="connsiteX20" fmla="*/ 0 w 3903960"/>
              <a:gd name="connsiteY20" fmla="*/ 273331 h 163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03960" h="1639954" fill="none" extrusionOk="0">
                <a:moveTo>
                  <a:pt x="0" y="273331"/>
                </a:moveTo>
                <a:cubicBezTo>
                  <a:pt x="2465" y="163929"/>
                  <a:pt x="91132" y="-22249"/>
                  <a:pt x="273331" y="0"/>
                </a:cubicBezTo>
                <a:cubicBezTo>
                  <a:pt x="457107" y="-6799"/>
                  <a:pt x="523035" y="46406"/>
                  <a:pt x="732162" y="0"/>
                </a:cubicBezTo>
                <a:cubicBezTo>
                  <a:pt x="941289" y="-46406"/>
                  <a:pt x="1151487" y="58231"/>
                  <a:pt x="1325284" y="0"/>
                </a:cubicBezTo>
                <a:cubicBezTo>
                  <a:pt x="1499081" y="-58231"/>
                  <a:pt x="1624674" y="33772"/>
                  <a:pt x="1817688" y="0"/>
                </a:cubicBezTo>
                <a:cubicBezTo>
                  <a:pt x="2010702" y="-33772"/>
                  <a:pt x="2150235" y="46161"/>
                  <a:pt x="2276519" y="0"/>
                </a:cubicBezTo>
                <a:cubicBezTo>
                  <a:pt x="2402803" y="-46161"/>
                  <a:pt x="2592250" y="24100"/>
                  <a:pt x="2836068" y="0"/>
                </a:cubicBezTo>
                <a:cubicBezTo>
                  <a:pt x="3079886" y="-24100"/>
                  <a:pt x="3458907" y="51176"/>
                  <a:pt x="3630629" y="0"/>
                </a:cubicBezTo>
                <a:cubicBezTo>
                  <a:pt x="3766088" y="23081"/>
                  <a:pt x="3909047" y="109635"/>
                  <a:pt x="3903960" y="273331"/>
                </a:cubicBezTo>
                <a:cubicBezTo>
                  <a:pt x="3958432" y="477342"/>
                  <a:pt x="3844177" y="642740"/>
                  <a:pt x="3903960" y="819977"/>
                </a:cubicBezTo>
                <a:cubicBezTo>
                  <a:pt x="3963743" y="997214"/>
                  <a:pt x="3847798" y="1111222"/>
                  <a:pt x="3903960" y="1366623"/>
                </a:cubicBezTo>
                <a:cubicBezTo>
                  <a:pt x="3897666" y="1504208"/>
                  <a:pt x="3756909" y="1651942"/>
                  <a:pt x="3630629" y="1639954"/>
                </a:cubicBezTo>
                <a:cubicBezTo>
                  <a:pt x="3445802" y="1647582"/>
                  <a:pt x="3293268" y="1580110"/>
                  <a:pt x="3104652" y="1639954"/>
                </a:cubicBezTo>
                <a:cubicBezTo>
                  <a:pt x="2916036" y="1699798"/>
                  <a:pt x="2670844" y="1627652"/>
                  <a:pt x="2545103" y="1639954"/>
                </a:cubicBezTo>
                <a:cubicBezTo>
                  <a:pt x="2419362" y="1652256"/>
                  <a:pt x="2191865" y="1639018"/>
                  <a:pt x="2019126" y="1639954"/>
                </a:cubicBezTo>
                <a:cubicBezTo>
                  <a:pt x="1846387" y="1640890"/>
                  <a:pt x="1664343" y="1615280"/>
                  <a:pt x="1560295" y="1639954"/>
                </a:cubicBezTo>
                <a:cubicBezTo>
                  <a:pt x="1456247" y="1664628"/>
                  <a:pt x="1289988" y="1625066"/>
                  <a:pt x="1067892" y="1639954"/>
                </a:cubicBezTo>
                <a:cubicBezTo>
                  <a:pt x="845796" y="1654842"/>
                  <a:pt x="441256" y="1609668"/>
                  <a:pt x="273331" y="1639954"/>
                </a:cubicBezTo>
                <a:cubicBezTo>
                  <a:pt x="124050" y="1643347"/>
                  <a:pt x="28615" y="1495035"/>
                  <a:pt x="0" y="1366623"/>
                </a:cubicBezTo>
                <a:cubicBezTo>
                  <a:pt x="-32219" y="1157781"/>
                  <a:pt x="40373" y="958258"/>
                  <a:pt x="0" y="830910"/>
                </a:cubicBezTo>
                <a:cubicBezTo>
                  <a:pt x="-40373" y="703562"/>
                  <a:pt x="53196" y="519886"/>
                  <a:pt x="0" y="273331"/>
                </a:cubicBezTo>
                <a:close/>
              </a:path>
              <a:path w="3903960" h="1639954" stroke="0" extrusionOk="0">
                <a:moveTo>
                  <a:pt x="0" y="273331"/>
                </a:moveTo>
                <a:cubicBezTo>
                  <a:pt x="-11561" y="158961"/>
                  <a:pt x="135736" y="-13124"/>
                  <a:pt x="273331" y="0"/>
                </a:cubicBezTo>
                <a:cubicBezTo>
                  <a:pt x="476279" y="-41089"/>
                  <a:pt x="666852" y="17516"/>
                  <a:pt x="765735" y="0"/>
                </a:cubicBezTo>
                <a:cubicBezTo>
                  <a:pt x="864618" y="-17516"/>
                  <a:pt x="1093164" y="53147"/>
                  <a:pt x="1258138" y="0"/>
                </a:cubicBezTo>
                <a:cubicBezTo>
                  <a:pt x="1423112" y="-53147"/>
                  <a:pt x="1690580" y="28766"/>
                  <a:pt x="1817688" y="0"/>
                </a:cubicBezTo>
                <a:cubicBezTo>
                  <a:pt x="1944796" y="-28766"/>
                  <a:pt x="2153019" y="44955"/>
                  <a:pt x="2276519" y="0"/>
                </a:cubicBezTo>
                <a:cubicBezTo>
                  <a:pt x="2400019" y="-44955"/>
                  <a:pt x="2555995" y="22833"/>
                  <a:pt x="2768923" y="0"/>
                </a:cubicBezTo>
                <a:cubicBezTo>
                  <a:pt x="2981851" y="-22833"/>
                  <a:pt x="3381351" y="36593"/>
                  <a:pt x="3630629" y="0"/>
                </a:cubicBezTo>
                <a:cubicBezTo>
                  <a:pt x="3789071" y="-16478"/>
                  <a:pt x="3924852" y="109666"/>
                  <a:pt x="3903960" y="273331"/>
                </a:cubicBezTo>
                <a:cubicBezTo>
                  <a:pt x="3907055" y="471949"/>
                  <a:pt x="3842177" y="558849"/>
                  <a:pt x="3903960" y="819977"/>
                </a:cubicBezTo>
                <a:cubicBezTo>
                  <a:pt x="3965743" y="1081105"/>
                  <a:pt x="3894602" y="1185882"/>
                  <a:pt x="3903960" y="1366623"/>
                </a:cubicBezTo>
                <a:cubicBezTo>
                  <a:pt x="3904612" y="1546761"/>
                  <a:pt x="3753104" y="1648329"/>
                  <a:pt x="3630629" y="1639954"/>
                </a:cubicBezTo>
                <a:cubicBezTo>
                  <a:pt x="3517453" y="1651252"/>
                  <a:pt x="3310791" y="1611605"/>
                  <a:pt x="3104652" y="1639954"/>
                </a:cubicBezTo>
                <a:cubicBezTo>
                  <a:pt x="2898513" y="1668303"/>
                  <a:pt x="2784345" y="1610497"/>
                  <a:pt x="2545103" y="1639954"/>
                </a:cubicBezTo>
                <a:cubicBezTo>
                  <a:pt x="2305861" y="1669411"/>
                  <a:pt x="2155914" y="1607105"/>
                  <a:pt x="1951980" y="1639954"/>
                </a:cubicBezTo>
                <a:cubicBezTo>
                  <a:pt x="1748046" y="1672803"/>
                  <a:pt x="1640141" y="1598478"/>
                  <a:pt x="1426003" y="1639954"/>
                </a:cubicBezTo>
                <a:cubicBezTo>
                  <a:pt x="1211865" y="1681430"/>
                  <a:pt x="1152289" y="1610632"/>
                  <a:pt x="933600" y="1639954"/>
                </a:cubicBezTo>
                <a:cubicBezTo>
                  <a:pt x="714911" y="1669276"/>
                  <a:pt x="459985" y="1613831"/>
                  <a:pt x="273331" y="1639954"/>
                </a:cubicBezTo>
                <a:cubicBezTo>
                  <a:pt x="150263" y="1653964"/>
                  <a:pt x="-5729" y="1514955"/>
                  <a:pt x="0" y="1366623"/>
                </a:cubicBezTo>
                <a:cubicBezTo>
                  <a:pt x="-30774" y="1161284"/>
                  <a:pt x="38533" y="1053084"/>
                  <a:pt x="0" y="830910"/>
                </a:cubicBezTo>
                <a:cubicBezTo>
                  <a:pt x="-38533" y="608736"/>
                  <a:pt x="31312" y="397204"/>
                  <a:pt x="0" y="273331"/>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078">
              <a:defRPr/>
            </a:pPr>
            <a:r>
              <a:rPr lang="nb-NO" sz="2400" b="1">
                <a:solidFill>
                  <a:prstClr val="white"/>
                </a:solidFill>
                <a:latin typeface="Calibri" panose="020F0502020204030204"/>
              </a:rPr>
              <a:t>Vanskelig å være tilbyder og  konsument</a:t>
            </a:r>
          </a:p>
        </p:txBody>
      </p:sp>
      <p:sp>
        <p:nvSpPr>
          <p:cNvPr id="24" name="Rektangel: avrundede hjørner 23">
            <a:extLst>
              <a:ext uri="{FF2B5EF4-FFF2-40B4-BE49-F238E27FC236}">
                <a16:creationId xmlns:a16="http://schemas.microsoft.com/office/drawing/2014/main" id="{69463DF0-74F6-4E95-CB2F-98FB22BD7CF4}"/>
              </a:ext>
            </a:extLst>
          </p:cNvPr>
          <p:cNvSpPr/>
          <p:nvPr/>
        </p:nvSpPr>
        <p:spPr>
          <a:xfrm>
            <a:off x="1069975" y="2932046"/>
            <a:ext cx="3903960" cy="1639954"/>
          </a:xfrm>
          <a:custGeom>
            <a:avLst/>
            <a:gdLst>
              <a:gd name="connsiteX0" fmla="*/ 0 w 3903960"/>
              <a:gd name="connsiteY0" fmla="*/ 273331 h 1639954"/>
              <a:gd name="connsiteX1" fmla="*/ 273331 w 3903960"/>
              <a:gd name="connsiteY1" fmla="*/ 0 h 1639954"/>
              <a:gd name="connsiteX2" fmla="*/ 732162 w 3903960"/>
              <a:gd name="connsiteY2" fmla="*/ 0 h 1639954"/>
              <a:gd name="connsiteX3" fmla="*/ 1325284 w 3903960"/>
              <a:gd name="connsiteY3" fmla="*/ 0 h 1639954"/>
              <a:gd name="connsiteX4" fmla="*/ 1817688 w 3903960"/>
              <a:gd name="connsiteY4" fmla="*/ 0 h 1639954"/>
              <a:gd name="connsiteX5" fmla="*/ 2276519 w 3903960"/>
              <a:gd name="connsiteY5" fmla="*/ 0 h 1639954"/>
              <a:gd name="connsiteX6" fmla="*/ 2836068 w 3903960"/>
              <a:gd name="connsiteY6" fmla="*/ 0 h 1639954"/>
              <a:gd name="connsiteX7" fmla="*/ 3630629 w 3903960"/>
              <a:gd name="connsiteY7" fmla="*/ 0 h 1639954"/>
              <a:gd name="connsiteX8" fmla="*/ 3903960 w 3903960"/>
              <a:gd name="connsiteY8" fmla="*/ 273331 h 1639954"/>
              <a:gd name="connsiteX9" fmla="*/ 3903960 w 3903960"/>
              <a:gd name="connsiteY9" fmla="*/ 819977 h 1639954"/>
              <a:gd name="connsiteX10" fmla="*/ 3903960 w 3903960"/>
              <a:gd name="connsiteY10" fmla="*/ 1366623 h 1639954"/>
              <a:gd name="connsiteX11" fmla="*/ 3630629 w 3903960"/>
              <a:gd name="connsiteY11" fmla="*/ 1639954 h 1639954"/>
              <a:gd name="connsiteX12" fmla="*/ 3104652 w 3903960"/>
              <a:gd name="connsiteY12" fmla="*/ 1639954 h 1639954"/>
              <a:gd name="connsiteX13" fmla="*/ 2545103 w 3903960"/>
              <a:gd name="connsiteY13" fmla="*/ 1639954 h 1639954"/>
              <a:gd name="connsiteX14" fmla="*/ 2019126 w 3903960"/>
              <a:gd name="connsiteY14" fmla="*/ 1639954 h 1639954"/>
              <a:gd name="connsiteX15" fmla="*/ 1560295 w 3903960"/>
              <a:gd name="connsiteY15" fmla="*/ 1639954 h 1639954"/>
              <a:gd name="connsiteX16" fmla="*/ 1067892 w 3903960"/>
              <a:gd name="connsiteY16" fmla="*/ 1639954 h 1639954"/>
              <a:gd name="connsiteX17" fmla="*/ 273331 w 3903960"/>
              <a:gd name="connsiteY17" fmla="*/ 1639954 h 1639954"/>
              <a:gd name="connsiteX18" fmla="*/ 0 w 3903960"/>
              <a:gd name="connsiteY18" fmla="*/ 1366623 h 1639954"/>
              <a:gd name="connsiteX19" fmla="*/ 0 w 3903960"/>
              <a:gd name="connsiteY19" fmla="*/ 830910 h 1639954"/>
              <a:gd name="connsiteX20" fmla="*/ 0 w 3903960"/>
              <a:gd name="connsiteY20" fmla="*/ 273331 h 163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03960" h="1639954" fill="none" extrusionOk="0">
                <a:moveTo>
                  <a:pt x="0" y="273331"/>
                </a:moveTo>
                <a:cubicBezTo>
                  <a:pt x="2465" y="163929"/>
                  <a:pt x="91132" y="-22249"/>
                  <a:pt x="273331" y="0"/>
                </a:cubicBezTo>
                <a:cubicBezTo>
                  <a:pt x="457107" y="-6799"/>
                  <a:pt x="523035" y="46406"/>
                  <a:pt x="732162" y="0"/>
                </a:cubicBezTo>
                <a:cubicBezTo>
                  <a:pt x="941289" y="-46406"/>
                  <a:pt x="1151487" y="58231"/>
                  <a:pt x="1325284" y="0"/>
                </a:cubicBezTo>
                <a:cubicBezTo>
                  <a:pt x="1499081" y="-58231"/>
                  <a:pt x="1624674" y="33772"/>
                  <a:pt x="1817688" y="0"/>
                </a:cubicBezTo>
                <a:cubicBezTo>
                  <a:pt x="2010702" y="-33772"/>
                  <a:pt x="2150235" y="46161"/>
                  <a:pt x="2276519" y="0"/>
                </a:cubicBezTo>
                <a:cubicBezTo>
                  <a:pt x="2402803" y="-46161"/>
                  <a:pt x="2592250" y="24100"/>
                  <a:pt x="2836068" y="0"/>
                </a:cubicBezTo>
                <a:cubicBezTo>
                  <a:pt x="3079886" y="-24100"/>
                  <a:pt x="3458907" y="51176"/>
                  <a:pt x="3630629" y="0"/>
                </a:cubicBezTo>
                <a:cubicBezTo>
                  <a:pt x="3766088" y="23081"/>
                  <a:pt x="3909047" y="109635"/>
                  <a:pt x="3903960" y="273331"/>
                </a:cubicBezTo>
                <a:cubicBezTo>
                  <a:pt x="3958432" y="477342"/>
                  <a:pt x="3844177" y="642740"/>
                  <a:pt x="3903960" y="819977"/>
                </a:cubicBezTo>
                <a:cubicBezTo>
                  <a:pt x="3963743" y="997214"/>
                  <a:pt x="3847798" y="1111222"/>
                  <a:pt x="3903960" y="1366623"/>
                </a:cubicBezTo>
                <a:cubicBezTo>
                  <a:pt x="3897666" y="1504208"/>
                  <a:pt x="3756909" y="1651942"/>
                  <a:pt x="3630629" y="1639954"/>
                </a:cubicBezTo>
                <a:cubicBezTo>
                  <a:pt x="3445802" y="1647582"/>
                  <a:pt x="3293268" y="1580110"/>
                  <a:pt x="3104652" y="1639954"/>
                </a:cubicBezTo>
                <a:cubicBezTo>
                  <a:pt x="2916036" y="1699798"/>
                  <a:pt x="2670844" y="1627652"/>
                  <a:pt x="2545103" y="1639954"/>
                </a:cubicBezTo>
                <a:cubicBezTo>
                  <a:pt x="2419362" y="1652256"/>
                  <a:pt x="2191865" y="1639018"/>
                  <a:pt x="2019126" y="1639954"/>
                </a:cubicBezTo>
                <a:cubicBezTo>
                  <a:pt x="1846387" y="1640890"/>
                  <a:pt x="1664343" y="1615280"/>
                  <a:pt x="1560295" y="1639954"/>
                </a:cubicBezTo>
                <a:cubicBezTo>
                  <a:pt x="1456247" y="1664628"/>
                  <a:pt x="1289988" y="1625066"/>
                  <a:pt x="1067892" y="1639954"/>
                </a:cubicBezTo>
                <a:cubicBezTo>
                  <a:pt x="845796" y="1654842"/>
                  <a:pt x="441256" y="1609668"/>
                  <a:pt x="273331" y="1639954"/>
                </a:cubicBezTo>
                <a:cubicBezTo>
                  <a:pt x="124050" y="1643347"/>
                  <a:pt x="28615" y="1495035"/>
                  <a:pt x="0" y="1366623"/>
                </a:cubicBezTo>
                <a:cubicBezTo>
                  <a:pt x="-32219" y="1157781"/>
                  <a:pt x="40373" y="958258"/>
                  <a:pt x="0" y="830910"/>
                </a:cubicBezTo>
                <a:cubicBezTo>
                  <a:pt x="-40373" y="703562"/>
                  <a:pt x="53196" y="519886"/>
                  <a:pt x="0" y="273331"/>
                </a:cubicBezTo>
                <a:close/>
              </a:path>
              <a:path w="3903960" h="1639954" stroke="0" extrusionOk="0">
                <a:moveTo>
                  <a:pt x="0" y="273331"/>
                </a:moveTo>
                <a:cubicBezTo>
                  <a:pt x="-11561" y="158961"/>
                  <a:pt x="135736" y="-13124"/>
                  <a:pt x="273331" y="0"/>
                </a:cubicBezTo>
                <a:cubicBezTo>
                  <a:pt x="476279" y="-41089"/>
                  <a:pt x="666852" y="17516"/>
                  <a:pt x="765735" y="0"/>
                </a:cubicBezTo>
                <a:cubicBezTo>
                  <a:pt x="864618" y="-17516"/>
                  <a:pt x="1093164" y="53147"/>
                  <a:pt x="1258138" y="0"/>
                </a:cubicBezTo>
                <a:cubicBezTo>
                  <a:pt x="1423112" y="-53147"/>
                  <a:pt x="1690580" y="28766"/>
                  <a:pt x="1817688" y="0"/>
                </a:cubicBezTo>
                <a:cubicBezTo>
                  <a:pt x="1944796" y="-28766"/>
                  <a:pt x="2153019" y="44955"/>
                  <a:pt x="2276519" y="0"/>
                </a:cubicBezTo>
                <a:cubicBezTo>
                  <a:pt x="2400019" y="-44955"/>
                  <a:pt x="2555995" y="22833"/>
                  <a:pt x="2768923" y="0"/>
                </a:cubicBezTo>
                <a:cubicBezTo>
                  <a:pt x="2981851" y="-22833"/>
                  <a:pt x="3381351" y="36593"/>
                  <a:pt x="3630629" y="0"/>
                </a:cubicBezTo>
                <a:cubicBezTo>
                  <a:pt x="3789071" y="-16478"/>
                  <a:pt x="3924852" y="109666"/>
                  <a:pt x="3903960" y="273331"/>
                </a:cubicBezTo>
                <a:cubicBezTo>
                  <a:pt x="3907055" y="471949"/>
                  <a:pt x="3842177" y="558849"/>
                  <a:pt x="3903960" y="819977"/>
                </a:cubicBezTo>
                <a:cubicBezTo>
                  <a:pt x="3965743" y="1081105"/>
                  <a:pt x="3894602" y="1185882"/>
                  <a:pt x="3903960" y="1366623"/>
                </a:cubicBezTo>
                <a:cubicBezTo>
                  <a:pt x="3904612" y="1546761"/>
                  <a:pt x="3753104" y="1648329"/>
                  <a:pt x="3630629" y="1639954"/>
                </a:cubicBezTo>
                <a:cubicBezTo>
                  <a:pt x="3517453" y="1651252"/>
                  <a:pt x="3310791" y="1611605"/>
                  <a:pt x="3104652" y="1639954"/>
                </a:cubicBezTo>
                <a:cubicBezTo>
                  <a:pt x="2898513" y="1668303"/>
                  <a:pt x="2784345" y="1610497"/>
                  <a:pt x="2545103" y="1639954"/>
                </a:cubicBezTo>
                <a:cubicBezTo>
                  <a:pt x="2305861" y="1669411"/>
                  <a:pt x="2155914" y="1607105"/>
                  <a:pt x="1951980" y="1639954"/>
                </a:cubicBezTo>
                <a:cubicBezTo>
                  <a:pt x="1748046" y="1672803"/>
                  <a:pt x="1640141" y="1598478"/>
                  <a:pt x="1426003" y="1639954"/>
                </a:cubicBezTo>
                <a:cubicBezTo>
                  <a:pt x="1211865" y="1681430"/>
                  <a:pt x="1152289" y="1610632"/>
                  <a:pt x="933600" y="1639954"/>
                </a:cubicBezTo>
                <a:cubicBezTo>
                  <a:pt x="714911" y="1669276"/>
                  <a:pt x="459985" y="1613831"/>
                  <a:pt x="273331" y="1639954"/>
                </a:cubicBezTo>
                <a:cubicBezTo>
                  <a:pt x="150263" y="1653964"/>
                  <a:pt x="-5729" y="1514955"/>
                  <a:pt x="0" y="1366623"/>
                </a:cubicBezTo>
                <a:cubicBezTo>
                  <a:pt x="-30774" y="1161284"/>
                  <a:pt x="38533" y="1053084"/>
                  <a:pt x="0" y="830910"/>
                </a:cubicBezTo>
                <a:cubicBezTo>
                  <a:pt x="-38533" y="608736"/>
                  <a:pt x="31312" y="397204"/>
                  <a:pt x="0" y="273331"/>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078">
              <a:defRPr/>
            </a:pPr>
            <a:r>
              <a:rPr lang="nb-NO" sz="2400" b="1">
                <a:solidFill>
                  <a:prstClr val="white"/>
                </a:solidFill>
                <a:latin typeface="Calibri" panose="020F0502020204030204"/>
              </a:rPr>
              <a:t>Ingen helhetlig tilnærming til opplysningene  </a:t>
            </a:r>
          </a:p>
        </p:txBody>
      </p:sp>
      <p:sp>
        <p:nvSpPr>
          <p:cNvPr id="27" name="Rektangel: avrundede hjørner 26">
            <a:extLst>
              <a:ext uri="{FF2B5EF4-FFF2-40B4-BE49-F238E27FC236}">
                <a16:creationId xmlns:a16="http://schemas.microsoft.com/office/drawing/2014/main" id="{0FE2EB45-618B-B145-B534-9A7815D10914}"/>
              </a:ext>
            </a:extLst>
          </p:cNvPr>
          <p:cNvSpPr/>
          <p:nvPr/>
        </p:nvSpPr>
        <p:spPr>
          <a:xfrm>
            <a:off x="11617553" y="2915239"/>
            <a:ext cx="3903960" cy="1639954"/>
          </a:xfrm>
          <a:custGeom>
            <a:avLst/>
            <a:gdLst>
              <a:gd name="connsiteX0" fmla="*/ 0 w 3903960"/>
              <a:gd name="connsiteY0" fmla="*/ 273331 h 1639954"/>
              <a:gd name="connsiteX1" fmla="*/ 273331 w 3903960"/>
              <a:gd name="connsiteY1" fmla="*/ 0 h 1639954"/>
              <a:gd name="connsiteX2" fmla="*/ 732162 w 3903960"/>
              <a:gd name="connsiteY2" fmla="*/ 0 h 1639954"/>
              <a:gd name="connsiteX3" fmla="*/ 1325284 w 3903960"/>
              <a:gd name="connsiteY3" fmla="*/ 0 h 1639954"/>
              <a:gd name="connsiteX4" fmla="*/ 1817688 w 3903960"/>
              <a:gd name="connsiteY4" fmla="*/ 0 h 1639954"/>
              <a:gd name="connsiteX5" fmla="*/ 2276519 w 3903960"/>
              <a:gd name="connsiteY5" fmla="*/ 0 h 1639954"/>
              <a:gd name="connsiteX6" fmla="*/ 2836068 w 3903960"/>
              <a:gd name="connsiteY6" fmla="*/ 0 h 1639954"/>
              <a:gd name="connsiteX7" fmla="*/ 3630629 w 3903960"/>
              <a:gd name="connsiteY7" fmla="*/ 0 h 1639954"/>
              <a:gd name="connsiteX8" fmla="*/ 3903960 w 3903960"/>
              <a:gd name="connsiteY8" fmla="*/ 273331 h 1639954"/>
              <a:gd name="connsiteX9" fmla="*/ 3903960 w 3903960"/>
              <a:gd name="connsiteY9" fmla="*/ 819977 h 1639954"/>
              <a:gd name="connsiteX10" fmla="*/ 3903960 w 3903960"/>
              <a:gd name="connsiteY10" fmla="*/ 1366623 h 1639954"/>
              <a:gd name="connsiteX11" fmla="*/ 3630629 w 3903960"/>
              <a:gd name="connsiteY11" fmla="*/ 1639954 h 1639954"/>
              <a:gd name="connsiteX12" fmla="*/ 3104652 w 3903960"/>
              <a:gd name="connsiteY12" fmla="*/ 1639954 h 1639954"/>
              <a:gd name="connsiteX13" fmla="*/ 2545103 w 3903960"/>
              <a:gd name="connsiteY13" fmla="*/ 1639954 h 1639954"/>
              <a:gd name="connsiteX14" fmla="*/ 2019126 w 3903960"/>
              <a:gd name="connsiteY14" fmla="*/ 1639954 h 1639954"/>
              <a:gd name="connsiteX15" fmla="*/ 1560295 w 3903960"/>
              <a:gd name="connsiteY15" fmla="*/ 1639954 h 1639954"/>
              <a:gd name="connsiteX16" fmla="*/ 1067892 w 3903960"/>
              <a:gd name="connsiteY16" fmla="*/ 1639954 h 1639954"/>
              <a:gd name="connsiteX17" fmla="*/ 273331 w 3903960"/>
              <a:gd name="connsiteY17" fmla="*/ 1639954 h 1639954"/>
              <a:gd name="connsiteX18" fmla="*/ 0 w 3903960"/>
              <a:gd name="connsiteY18" fmla="*/ 1366623 h 1639954"/>
              <a:gd name="connsiteX19" fmla="*/ 0 w 3903960"/>
              <a:gd name="connsiteY19" fmla="*/ 830910 h 1639954"/>
              <a:gd name="connsiteX20" fmla="*/ 0 w 3903960"/>
              <a:gd name="connsiteY20" fmla="*/ 273331 h 163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03960" h="1639954" fill="none" extrusionOk="0">
                <a:moveTo>
                  <a:pt x="0" y="273331"/>
                </a:moveTo>
                <a:cubicBezTo>
                  <a:pt x="2465" y="163929"/>
                  <a:pt x="91132" y="-22249"/>
                  <a:pt x="273331" y="0"/>
                </a:cubicBezTo>
                <a:cubicBezTo>
                  <a:pt x="457107" y="-6799"/>
                  <a:pt x="523035" y="46406"/>
                  <a:pt x="732162" y="0"/>
                </a:cubicBezTo>
                <a:cubicBezTo>
                  <a:pt x="941289" y="-46406"/>
                  <a:pt x="1151487" y="58231"/>
                  <a:pt x="1325284" y="0"/>
                </a:cubicBezTo>
                <a:cubicBezTo>
                  <a:pt x="1499081" y="-58231"/>
                  <a:pt x="1624674" y="33772"/>
                  <a:pt x="1817688" y="0"/>
                </a:cubicBezTo>
                <a:cubicBezTo>
                  <a:pt x="2010702" y="-33772"/>
                  <a:pt x="2150235" y="46161"/>
                  <a:pt x="2276519" y="0"/>
                </a:cubicBezTo>
                <a:cubicBezTo>
                  <a:pt x="2402803" y="-46161"/>
                  <a:pt x="2592250" y="24100"/>
                  <a:pt x="2836068" y="0"/>
                </a:cubicBezTo>
                <a:cubicBezTo>
                  <a:pt x="3079886" y="-24100"/>
                  <a:pt x="3458907" y="51176"/>
                  <a:pt x="3630629" y="0"/>
                </a:cubicBezTo>
                <a:cubicBezTo>
                  <a:pt x="3766088" y="23081"/>
                  <a:pt x="3909047" y="109635"/>
                  <a:pt x="3903960" y="273331"/>
                </a:cubicBezTo>
                <a:cubicBezTo>
                  <a:pt x="3958432" y="477342"/>
                  <a:pt x="3844177" y="642740"/>
                  <a:pt x="3903960" y="819977"/>
                </a:cubicBezTo>
                <a:cubicBezTo>
                  <a:pt x="3963743" y="997214"/>
                  <a:pt x="3847798" y="1111222"/>
                  <a:pt x="3903960" y="1366623"/>
                </a:cubicBezTo>
                <a:cubicBezTo>
                  <a:pt x="3897666" y="1504208"/>
                  <a:pt x="3756909" y="1651942"/>
                  <a:pt x="3630629" y="1639954"/>
                </a:cubicBezTo>
                <a:cubicBezTo>
                  <a:pt x="3445802" y="1647582"/>
                  <a:pt x="3293268" y="1580110"/>
                  <a:pt x="3104652" y="1639954"/>
                </a:cubicBezTo>
                <a:cubicBezTo>
                  <a:pt x="2916036" y="1699798"/>
                  <a:pt x="2670844" y="1627652"/>
                  <a:pt x="2545103" y="1639954"/>
                </a:cubicBezTo>
                <a:cubicBezTo>
                  <a:pt x="2419362" y="1652256"/>
                  <a:pt x="2191865" y="1639018"/>
                  <a:pt x="2019126" y="1639954"/>
                </a:cubicBezTo>
                <a:cubicBezTo>
                  <a:pt x="1846387" y="1640890"/>
                  <a:pt x="1664343" y="1615280"/>
                  <a:pt x="1560295" y="1639954"/>
                </a:cubicBezTo>
                <a:cubicBezTo>
                  <a:pt x="1456247" y="1664628"/>
                  <a:pt x="1289988" y="1625066"/>
                  <a:pt x="1067892" y="1639954"/>
                </a:cubicBezTo>
                <a:cubicBezTo>
                  <a:pt x="845796" y="1654842"/>
                  <a:pt x="441256" y="1609668"/>
                  <a:pt x="273331" y="1639954"/>
                </a:cubicBezTo>
                <a:cubicBezTo>
                  <a:pt x="124050" y="1643347"/>
                  <a:pt x="28615" y="1495035"/>
                  <a:pt x="0" y="1366623"/>
                </a:cubicBezTo>
                <a:cubicBezTo>
                  <a:pt x="-32219" y="1157781"/>
                  <a:pt x="40373" y="958258"/>
                  <a:pt x="0" y="830910"/>
                </a:cubicBezTo>
                <a:cubicBezTo>
                  <a:pt x="-40373" y="703562"/>
                  <a:pt x="53196" y="519886"/>
                  <a:pt x="0" y="273331"/>
                </a:cubicBezTo>
                <a:close/>
              </a:path>
              <a:path w="3903960" h="1639954" stroke="0" extrusionOk="0">
                <a:moveTo>
                  <a:pt x="0" y="273331"/>
                </a:moveTo>
                <a:cubicBezTo>
                  <a:pt x="-11561" y="158961"/>
                  <a:pt x="135736" y="-13124"/>
                  <a:pt x="273331" y="0"/>
                </a:cubicBezTo>
                <a:cubicBezTo>
                  <a:pt x="476279" y="-41089"/>
                  <a:pt x="666852" y="17516"/>
                  <a:pt x="765735" y="0"/>
                </a:cubicBezTo>
                <a:cubicBezTo>
                  <a:pt x="864618" y="-17516"/>
                  <a:pt x="1093164" y="53147"/>
                  <a:pt x="1258138" y="0"/>
                </a:cubicBezTo>
                <a:cubicBezTo>
                  <a:pt x="1423112" y="-53147"/>
                  <a:pt x="1690580" y="28766"/>
                  <a:pt x="1817688" y="0"/>
                </a:cubicBezTo>
                <a:cubicBezTo>
                  <a:pt x="1944796" y="-28766"/>
                  <a:pt x="2153019" y="44955"/>
                  <a:pt x="2276519" y="0"/>
                </a:cubicBezTo>
                <a:cubicBezTo>
                  <a:pt x="2400019" y="-44955"/>
                  <a:pt x="2555995" y="22833"/>
                  <a:pt x="2768923" y="0"/>
                </a:cubicBezTo>
                <a:cubicBezTo>
                  <a:pt x="2981851" y="-22833"/>
                  <a:pt x="3381351" y="36593"/>
                  <a:pt x="3630629" y="0"/>
                </a:cubicBezTo>
                <a:cubicBezTo>
                  <a:pt x="3789071" y="-16478"/>
                  <a:pt x="3924852" y="109666"/>
                  <a:pt x="3903960" y="273331"/>
                </a:cubicBezTo>
                <a:cubicBezTo>
                  <a:pt x="3907055" y="471949"/>
                  <a:pt x="3842177" y="558849"/>
                  <a:pt x="3903960" y="819977"/>
                </a:cubicBezTo>
                <a:cubicBezTo>
                  <a:pt x="3965743" y="1081105"/>
                  <a:pt x="3894602" y="1185882"/>
                  <a:pt x="3903960" y="1366623"/>
                </a:cubicBezTo>
                <a:cubicBezTo>
                  <a:pt x="3904612" y="1546761"/>
                  <a:pt x="3753104" y="1648329"/>
                  <a:pt x="3630629" y="1639954"/>
                </a:cubicBezTo>
                <a:cubicBezTo>
                  <a:pt x="3517453" y="1651252"/>
                  <a:pt x="3310791" y="1611605"/>
                  <a:pt x="3104652" y="1639954"/>
                </a:cubicBezTo>
                <a:cubicBezTo>
                  <a:pt x="2898513" y="1668303"/>
                  <a:pt x="2784345" y="1610497"/>
                  <a:pt x="2545103" y="1639954"/>
                </a:cubicBezTo>
                <a:cubicBezTo>
                  <a:pt x="2305861" y="1669411"/>
                  <a:pt x="2155914" y="1607105"/>
                  <a:pt x="1951980" y="1639954"/>
                </a:cubicBezTo>
                <a:cubicBezTo>
                  <a:pt x="1748046" y="1672803"/>
                  <a:pt x="1640141" y="1598478"/>
                  <a:pt x="1426003" y="1639954"/>
                </a:cubicBezTo>
                <a:cubicBezTo>
                  <a:pt x="1211865" y="1681430"/>
                  <a:pt x="1152289" y="1610632"/>
                  <a:pt x="933600" y="1639954"/>
                </a:cubicBezTo>
                <a:cubicBezTo>
                  <a:pt x="714911" y="1669276"/>
                  <a:pt x="459985" y="1613831"/>
                  <a:pt x="273331" y="1639954"/>
                </a:cubicBezTo>
                <a:cubicBezTo>
                  <a:pt x="150263" y="1653964"/>
                  <a:pt x="-5729" y="1514955"/>
                  <a:pt x="0" y="1366623"/>
                </a:cubicBezTo>
                <a:cubicBezTo>
                  <a:pt x="-30774" y="1161284"/>
                  <a:pt x="38533" y="1053084"/>
                  <a:pt x="0" y="830910"/>
                </a:cubicBezTo>
                <a:cubicBezTo>
                  <a:pt x="-38533" y="608736"/>
                  <a:pt x="31312" y="397204"/>
                  <a:pt x="0" y="273331"/>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lIns="121908" tIns="60954" rIns="121908" bIns="60954" rtlCol="0" anchor="ctr"/>
          <a:lstStyle/>
          <a:p>
            <a:pPr algn="ctr" defTabSz="1219078">
              <a:defRPr/>
            </a:pPr>
            <a:r>
              <a:rPr lang="nb-NO" sz="2400" b="1">
                <a:solidFill>
                  <a:prstClr val="white"/>
                </a:solidFill>
                <a:latin typeface="Calibri" panose="020F0502020204030204"/>
              </a:rPr>
              <a:t>Datakvalitet</a:t>
            </a:r>
          </a:p>
        </p:txBody>
      </p:sp>
      <p:sp>
        <p:nvSpPr>
          <p:cNvPr id="28" name="Rektangel: avrundede hjørner 27">
            <a:extLst>
              <a:ext uri="{FF2B5EF4-FFF2-40B4-BE49-F238E27FC236}">
                <a16:creationId xmlns:a16="http://schemas.microsoft.com/office/drawing/2014/main" id="{220191DE-CEE2-4235-6AEB-DE64FB4B96F0}"/>
              </a:ext>
            </a:extLst>
          </p:cNvPr>
          <p:cNvSpPr/>
          <p:nvPr/>
        </p:nvSpPr>
        <p:spPr>
          <a:xfrm>
            <a:off x="1069975" y="6052312"/>
            <a:ext cx="3903960" cy="1639954"/>
          </a:xfrm>
          <a:custGeom>
            <a:avLst/>
            <a:gdLst>
              <a:gd name="connsiteX0" fmla="*/ 0 w 3903960"/>
              <a:gd name="connsiteY0" fmla="*/ 273331 h 1639954"/>
              <a:gd name="connsiteX1" fmla="*/ 273331 w 3903960"/>
              <a:gd name="connsiteY1" fmla="*/ 0 h 1639954"/>
              <a:gd name="connsiteX2" fmla="*/ 732162 w 3903960"/>
              <a:gd name="connsiteY2" fmla="*/ 0 h 1639954"/>
              <a:gd name="connsiteX3" fmla="*/ 1325284 w 3903960"/>
              <a:gd name="connsiteY3" fmla="*/ 0 h 1639954"/>
              <a:gd name="connsiteX4" fmla="*/ 1817688 w 3903960"/>
              <a:gd name="connsiteY4" fmla="*/ 0 h 1639954"/>
              <a:gd name="connsiteX5" fmla="*/ 2276519 w 3903960"/>
              <a:gd name="connsiteY5" fmla="*/ 0 h 1639954"/>
              <a:gd name="connsiteX6" fmla="*/ 2836068 w 3903960"/>
              <a:gd name="connsiteY6" fmla="*/ 0 h 1639954"/>
              <a:gd name="connsiteX7" fmla="*/ 3630629 w 3903960"/>
              <a:gd name="connsiteY7" fmla="*/ 0 h 1639954"/>
              <a:gd name="connsiteX8" fmla="*/ 3903960 w 3903960"/>
              <a:gd name="connsiteY8" fmla="*/ 273331 h 1639954"/>
              <a:gd name="connsiteX9" fmla="*/ 3903960 w 3903960"/>
              <a:gd name="connsiteY9" fmla="*/ 819977 h 1639954"/>
              <a:gd name="connsiteX10" fmla="*/ 3903960 w 3903960"/>
              <a:gd name="connsiteY10" fmla="*/ 1366623 h 1639954"/>
              <a:gd name="connsiteX11" fmla="*/ 3630629 w 3903960"/>
              <a:gd name="connsiteY11" fmla="*/ 1639954 h 1639954"/>
              <a:gd name="connsiteX12" fmla="*/ 3104652 w 3903960"/>
              <a:gd name="connsiteY12" fmla="*/ 1639954 h 1639954"/>
              <a:gd name="connsiteX13" fmla="*/ 2545103 w 3903960"/>
              <a:gd name="connsiteY13" fmla="*/ 1639954 h 1639954"/>
              <a:gd name="connsiteX14" fmla="*/ 2019126 w 3903960"/>
              <a:gd name="connsiteY14" fmla="*/ 1639954 h 1639954"/>
              <a:gd name="connsiteX15" fmla="*/ 1560295 w 3903960"/>
              <a:gd name="connsiteY15" fmla="*/ 1639954 h 1639954"/>
              <a:gd name="connsiteX16" fmla="*/ 1067892 w 3903960"/>
              <a:gd name="connsiteY16" fmla="*/ 1639954 h 1639954"/>
              <a:gd name="connsiteX17" fmla="*/ 273331 w 3903960"/>
              <a:gd name="connsiteY17" fmla="*/ 1639954 h 1639954"/>
              <a:gd name="connsiteX18" fmla="*/ 0 w 3903960"/>
              <a:gd name="connsiteY18" fmla="*/ 1366623 h 1639954"/>
              <a:gd name="connsiteX19" fmla="*/ 0 w 3903960"/>
              <a:gd name="connsiteY19" fmla="*/ 830910 h 1639954"/>
              <a:gd name="connsiteX20" fmla="*/ 0 w 3903960"/>
              <a:gd name="connsiteY20" fmla="*/ 273331 h 163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03960" h="1639954" fill="none" extrusionOk="0">
                <a:moveTo>
                  <a:pt x="0" y="273331"/>
                </a:moveTo>
                <a:cubicBezTo>
                  <a:pt x="2465" y="163929"/>
                  <a:pt x="91132" y="-22249"/>
                  <a:pt x="273331" y="0"/>
                </a:cubicBezTo>
                <a:cubicBezTo>
                  <a:pt x="457107" y="-6799"/>
                  <a:pt x="523035" y="46406"/>
                  <a:pt x="732162" y="0"/>
                </a:cubicBezTo>
                <a:cubicBezTo>
                  <a:pt x="941289" y="-46406"/>
                  <a:pt x="1151487" y="58231"/>
                  <a:pt x="1325284" y="0"/>
                </a:cubicBezTo>
                <a:cubicBezTo>
                  <a:pt x="1499081" y="-58231"/>
                  <a:pt x="1624674" y="33772"/>
                  <a:pt x="1817688" y="0"/>
                </a:cubicBezTo>
                <a:cubicBezTo>
                  <a:pt x="2010702" y="-33772"/>
                  <a:pt x="2150235" y="46161"/>
                  <a:pt x="2276519" y="0"/>
                </a:cubicBezTo>
                <a:cubicBezTo>
                  <a:pt x="2402803" y="-46161"/>
                  <a:pt x="2592250" y="24100"/>
                  <a:pt x="2836068" y="0"/>
                </a:cubicBezTo>
                <a:cubicBezTo>
                  <a:pt x="3079886" y="-24100"/>
                  <a:pt x="3458907" y="51176"/>
                  <a:pt x="3630629" y="0"/>
                </a:cubicBezTo>
                <a:cubicBezTo>
                  <a:pt x="3766088" y="23081"/>
                  <a:pt x="3909047" y="109635"/>
                  <a:pt x="3903960" y="273331"/>
                </a:cubicBezTo>
                <a:cubicBezTo>
                  <a:pt x="3958432" y="477342"/>
                  <a:pt x="3844177" y="642740"/>
                  <a:pt x="3903960" y="819977"/>
                </a:cubicBezTo>
                <a:cubicBezTo>
                  <a:pt x="3963743" y="997214"/>
                  <a:pt x="3847798" y="1111222"/>
                  <a:pt x="3903960" y="1366623"/>
                </a:cubicBezTo>
                <a:cubicBezTo>
                  <a:pt x="3897666" y="1504208"/>
                  <a:pt x="3756909" y="1651942"/>
                  <a:pt x="3630629" y="1639954"/>
                </a:cubicBezTo>
                <a:cubicBezTo>
                  <a:pt x="3445802" y="1647582"/>
                  <a:pt x="3293268" y="1580110"/>
                  <a:pt x="3104652" y="1639954"/>
                </a:cubicBezTo>
                <a:cubicBezTo>
                  <a:pt x="2916036" y="1699798"/>
                  <a:pt x="2670844" y="1627652"/>
                  <a:pt x="2545103" y="1639954"/>
                </a:cubicBezTo>
                <a:cubicBezTo>
                  <a:pt x="2419362" y="1652256"/>
                  <a:pt x="2191865" y="1639018"/>
                  <a:pt x="2019126" y="1639954"/>
                </a:cubicBezTo>
                <a:cubicBezTo>
                  <a:pt x="1846387" y="1640890"/>
                  <a:pt x="1664343" y="1615280"/>
                  <a:pt x="1560295" y="1639954"/>
                </a:cubicBezTo>
                <a:cubicBezTo>
                  <a:pt x="1456247" y="1664628"/>
                  <a:pt x="1289988" y="1625066"/>
                  <a:pt x="1067892" y="1639954"/>
                </a:cubicBezTo>
                <a:cubicBezTo>
                  <a:pt x="845796" y="1654842"/>
                  <a:pt x="441256" y="1609668"/>
                  <a:pt x="273331" y="1639954"/>
                </a:cubicBezTo>
                <a:cubicBezTo>
                  <a:pt x="124050" y="1643347"/>
                  <a:pt x="28615" y="1495035"/>
                  <a:pt x="0" y="1366623"/>
                </a:cubicBezTo>
                <a:cubicBezTo>
                  <a:pt x="-32219" y="1157781"/>
                  <a:pt x="40373" y="958258"/>
                  <a:pt x="0" y="830910"/>
                </a:cubicBezTo>
                <a:cubicBezTo>
                  <a:pt x="-40373" y="703562"/>
                  <a:pt x="53196" y="519886"/>
                  <a:pt x="0" y="273331"/>
                </a:cubicBezTo>
                <a:close/>
              </a:path>
              <a:path w="3903960" h="1639954" stroke="0" extrusionOk="0">
                <a:moveTo>
                  <a:pt x="0" y="273331"/>
                </a:moveTo>
                <a:cubicBezTo>
                  <a:pt x="-11561" y="158961"/>
                  <a:pt x="135736" y="-13124"/>
                  <a:pt x="273331" y="0"/>
                </a:cubicBezTo>
                <a:cubicBezTo>
                  <a:pt x="476279" y="-41089"/>
                  <a:pt x="666852" y="17516"/>
                  <a:pt x="765735" y="0"/>
                </a:cubicBezTo>
                <a:cubicBezTo>
                  <a:pt x="864618" y="-17516"/>
                  <a:pt x="1093164" y="53147"/>
                  <a:pt x="1258138" y="0"/>
                </a:cubicBezTo>
                <a:cubicBezTo>
                  <a:pt x="1423112" y="-53147"/>
                  <a:pt x="1690580" y="28766"/>
                  <a:pt x="1817688" y="0"/>
                </a:cubicBezTo>
                <a:cubicBezTo>
                  <a:pt x="1944796" y="-28766"/>
                  <a:pt x="2153019" y="44955"/>
                  <a:pt x="2276519" y="0"/>
                </a:cubicBezTo>
                <a:cubicBezTo>
                  <a:pt x="2400019" y="-44955"/>
                  <a:pt x="2555995" y="22833"/>
                  <a:pt x="2768923" y="0"/>
                </a:cubicBezTo>
                <a:cubicBezTo>
                  <a:pt x="2981851" y="-22833"/>
                  <a:pt x="3381351" y="36593"/>
                  <a:pt x="3630629" y="0"/>
                </a:cubicBezTo>
                <a:cubicBezTo>
                  <a:pt x="3789071" y="-16478"/>
                  <a:pt x="3924852" y="109666"/>
                  <a:pt x="3903960" y="273331"/>
                </a:cubicBezTo>
                <a:cubicBezTo>
                  <a:pt x="3907055" y="471949"/>
                  <a:pt x="3842177" y="558849"/>
                  <a:pt x="3903960" y="819977"/>
                </a:cubicBezTo>
                <a:cubicBezTo>
                  <a:pt x="3965743" y="1081105"/>
                  <a:pt x="3894602" y="1185882"/>
                  <a:pt x="3903960" y="1366623"/>
                </a:cubicBezTo>
                <a:cubicBezTo>
                  <a:pt x="3904612" y="1546761"/>
                  <a:pt x="3753104" y="1648329"/>
                  <a:pt x="3630629" y="1639954"/>
                </a:cubicBezTo>
                <a:cubicBezTo>
                  <a:pt x="3517453" y="1651252"/>
                  <a:pt x="3310791" y="1611605"/>
                  <a:pt x="3104652" y="1639954"/>
                </a:cubicBezTo>
                <a:cubicBezTo>
                  <a:pt x="2898513" y="1668303"/>
                  <a:pt x="2784345" y="1610497"/>
                  <a:pt x="2545103" y="1639954"/>
                </a:cubicBezTo>
                <a:cubicBezTo>
                  <a:pt x="2305861" y="1669411"/>
                  <a:pt x="2155914" y="1607105"/>
                  <a:pt x="1951980" y="1639954"/>
                </a:cubicBezTo>
                <a:cubicBezTo>
                  <a:pt x="1748046" y="1672803"/>
                  <a:pt x="1640141" y="1598478"/>
                  <a:pt x="1426003" y="1639954"/>
                </a:cubicBezTo>
                <a:cubicBezTo>
                  <a:pt x="1211865" y="1681430"/>
                  <a:pt x="1152289" y="1610632"/>
                  <a:pt x="933600" y="1639954"/>
                </a:cubicBezTo>
                <a:cubicBezTo>
                  <a:pt x="714911" y="1669276"/>
                  <a:pt x="459985" y="1613831"/>
                  <a:pt x="273331" y="1639954"/>
                </a:cubicBezTo>
                <a:cubicBezTo>
                  <a:pt x="150263" y="1653964"/>
                  <a:pt x="-5729" y="1514955"/>
                  <a:pt x="0" y="1366623"/>
                </a:cubicBezTo>
                <a:cubicBezTo>
                  <a:pt x="-30774" y="1161284"/>
                  <a:pt x="38533" y="1053084"/>
                  <a:pt x="0" y="830910"/>
                </a:cubicBezTo>
                <a:cubicBezTo>
                  <a:pt x="-38533" y="608736"/>
                  <a:pt x="31312" y="397204"/>
                  <a:pt x="0" y="273331"/>
                </a:cubicBezTo>
                <a:close/>
              </a:path>
            </a:pathLst>
          </a:custGeom>
          <a:solidFill>
            <a:srgbClr val="FF714F"/>
          </a:solidFill>
          <a:ln>
            <a:solidFill>
              <a:schemeClr val="accent6">
                <a:lumMod val="50000"/>
              </a:schemeClr>
            </a:solidFill>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3">
            <a:schemeClr val="lt1"/>
          </a:lnRef>
          <a:fillRef idx="1">
            <a:schemeClr val="accent2"/>
          </a:fillRef>
          <a:effectRef idx="1">
            <a:schemeClr val="accent2"/>
          </a:effectRef>
          <a:fontRef idx="minor">
            <a:schemeClr val="lt1"/>
          </a:fontRef>
        </p:style>
        <p:txBody>
          <a:bodyPr rtlCol="0" anchor="ctr"/>
          <a:lstStyle/>
          <a:p>
            <a:pPr algn="ctr" defTabSz="1219078">
              <a:defRPr/>
            </a:pPr>
            <a:r>
              <a:rPr lang="nb-NO" sz="2400" b="1" dirty="0">
                <a:solidFill>
                  <a:prstClr val="white"/>
                </a:solidFill>
                <a:latin typeface="Calibri" panose="020F0502020204030204"/>
              </a:rPr>
              <a:t>Fravær av overordnet styring, roller og ansvar</a:t>
            </a:r>
          </a:p>
        </p:txBody>
      </p:sp>
      <p:sp>
        <p:nvSpPr>
          <p:cNvPr id="29" name="Rektangel: avrundede hjørner 28">
            <a:extLst>
              <a:ext uri="{FF2B5EF4-FFF2-40B4-BE49-F238E27FC236}">
                <a16:creationId xmlns:a16="http://schemas.microsoft.com/office/drawing/2014/main" id="{D2770C56-BFF8-A86D-4480-1AAB153A3C8A}"/>
              </a:ext>
            </a:extLst>
          </p:cNvPr>
          <p:cNvSpPr/>
          <p:nvPr/>
        </p:nvSpPr>
        <p:spPr>
          <a:xfrm>
            <a:off x="7216986" y="6052312"/>
            <a:ext cx="3903960" cy="1639954"/>
          </a:xfrm>
          <a:custGeom>
            <a:avLst/>
            <a:gdLst>
              <a:gd name="connsiteX0" fmla="*/ 0 w 3903960"/>
              <a:gd name="connsiteY0" fmla="*/ 273331 h 1639954"/>
              <a:gd name="connsiteX1" fmla="*/ 273331 w 3903960"/>
              <a:gd name="connsiteY1" fmla="*/ 0 h 1639954"/>
              <a:gd name="connsiteX2" fmla="*/ 732162 w 3903960"/>
              <a:gd name="connsiteY2" fmla="*/ 0 h 1639954"/>
              <a:gd name="connsiteX3" fmla="*/ 1325284 w 3903960"/>
              <a:gd name="connsiteY3" fmla="*/ 0 h 1639954"/>
              <a:gd name="connsiteX4" fmla="*/ 1817688 w 3903960"/>
              <a:gd name="connsiteY4" fmla="*/ 0 h 1639954"/>
              <a:gd name="connsiteX5" fmla="*/ 2276519 w 3903960"/>
              <a:gd name="connsiteY5" fmla="*/ 0 h 1639954"/>
              <a:gd name="connsiteX6" fmla="*/ 2836068 w 3903960"/>
              <a:gd name="connsiteY6" fmla="*/ 0 h 1639954"/>
              <a:gd name="connsiteX7" fmla="*/ 3630629 w 3903960"/>
              <a:gd name="connsiteY7" fmla="*/ 0 h 1639954"/>
              <a:gd name="connsiteX8" fmla="*/ 3903960 w 3903960"/>
              <a:gd name="connsiteY8" fmla="*/ 273331 h 1639954"/>
              <a:gd name="connsiteX9" fmla="*/ 3903960 w 3903960"/>
              <a:gd name="connsiteY9" fmla="*/ 819977 h 1639954"/>
              <a:gd name="connsiteX10" fmla="*/ 3903960 w 3903960"/>
              <a:gd name="connsiteY10" fmla="*/ 1366623 h 1639954"/>
              <a:gd name="connsiteX11" fmla="*/ 3630629 w 3903960"/>
              <a:gd name="connsiteY11" fmla="*/ 1639954 h 1639954"/>
              <a:gd name="connsiteX12" fmla="*/ 3104652 w 3903960"/>
              <a:gd name="connsiteY12" fmla="*/ 1639954 h 1639954"/>
              <a:gd name="connsiteX13" fmla="*/ 2545103 w 3903960"/>
              <a:gd name="connsiteY13" fmla="*/ 1639954 h 1639954"/>
              <a:gd name="connsiteX14" fmla="*/ 2019126 w 3903960"/>
              <a:gd name="connsiteY14" fmla="*/ 1639954 h 1639954"/>
              <a:gd name="connsiteX15" fmla="*/ 1560295 w 3903960"/>
              <a:gd name="connsiteY15" fmla="*/ 1639954 h 1639954"/>
              <a:gd name="connsiteX16" fmla="*/ 1067892 w 3903960"/>
              <a:gd name="connsiteY16" fmla="*/ 1639954 h 1639954"/>
              <a:gd name="connsiteX17" fmla="*/ 273331 w 3903960"/>
              <a:gd name="connsiteY17" fmla="*/ 1639954 h 1639954"/>
              <a:gd name="connsiteX18" fmla="*/ 0 w 3903960"/>
              <a:gd name="connsiteY18" fmla="*/ 1366623 h 1639954"/>
              <a:gd name="connsiteX19" fmla="*/ 0 w 3903960"/>
              <a:gd name="connsiteY19" fmla="*/ 830910 h 1639954"/>
              <a:gd name="connsiteX20" fmla="*/ 0 w 3903960"/>
              <a:gd name="connsiteY20" fmla="*/ 273331 h 163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03960" h="1639954" fill="none" extrusionOk="0">
                <a:moveTo>
                  <a:pt x="0" y="273331"/>
                </a:moveTo>
                <a:cubicBezTo>
                  <a:pt x="2465" y="163929"/>
                  <a:pt x="91132" y="-22249"/>
                  <a:pt x="273331" y="0"/>
                </a:cubicBezTo>
                <a:cubicBezTo>
                  <a:pt x="457107" y="-6799"/>
                  <a:pt x="523035" y="46406"/>
                  <a:pt x="732162" y="0"/>
                </a:cubicBezTo>
                <a:cubicBezTo>
                  <a:pt x="941289" y="-46406"/>
                  <a:pt x="1151487" y="58231"/>
                  <a:pt x="1325284" y="0"/>
                </a:cubicBezTo>
                <a:cubicBezTo>
                  <a:pt x="1499081" y="-58231"/>
                  <a:pt x="1624674" y="33772"/>
                  <a:pt x="1817688" y="0"/>
                </a:cubicBezTo>
                <a:cubicBezTo>
                  <a:pt x="2010702" y="-33772"/>
                  <a:pt x="2150235" y="46161"/>
                  <a:pt x="2276519" y="0"/>
                </a:cubicBezTo>
                <a:cubicBezTo>
                  <a:pt x="2402803" y="-46161"/>
                  <a:pt x="2592250" y="24100"/>
                  <a:pt x="2836068" y="0"/>
                </a:cubicBezTo>
                <a:cubicBezTo>
                  <a:pt x="3079886" y="-24100"/>
                  <a:pt x="3458907" y="51176"/>
                  <a:pt x="3630629" y="0"/>
                </a:cubicBezTo>
                <a:cubicBezTo>
                  <a:pt x="3766088" y="23081"/>
                  <a:pt x="3909047" y="109635"/>
                  <a:pt x="3903960" y="273331"/>
                </a:cubicBezTo>
                <a:cubicBezTo>
                  <a:pt x="3958432" y="477342"/>
                  <a:pt x="3844177" y="642740"/>
                  <a:pt x="3903960" y="819977"/>
                </a:cubicBezTo>
                <a:cubicBezTo>
                  <a:pt x="3963743" y="997214"/>
                  <a:pt x="3847798" y="1111222"/>
                  <a:pt x="3903960" y="1366623"/>
                </a:cubicBezTo>
                <a:cubicBezTo>
                  <a:pt x="3897666" y="1504208"/>
                  <a:pt x="3756909" y="1651942"/>
                  <a:pt x="3630629" y="1639954"/>
                </a:cubicBezTo>
                <a:cubicBezTo>
                  <a:pt x="3445802" y="1647582"/>
                  <a:pt x="3293268" y="1580110"/>
                  <a:pt x="3104652" y="1639954"/>
                </a:cubicBezTo>
                <a:cubicBezTo>
                  <a:pt x="2916036" y="1699798"/>
                  <a:pt x="2670844" y="1627652"/>
                  <a:pt x="2545103" y="1639954"/>
                </a:cubicBezTo>
                <a:cubicBezTo>
                  <a:pt x="2419362" y="1652256"/>
                  <a:pt x="2191865" y="1639018"/>
                  <a:pt x="2019126" y="1639954"/>
                </a:cubicBezTo>
                <a:cubicBezTo>
                  <a:pt x="1846387" y="1640890"/>
                  <a:pt x="1664343" y="1615280"/>
                  <a:pt x="1560295" y="1639954"/>
                </a:cubicBezTo>
                <a:cubicBezTo>
                  <a:pt x="1456247" y="1664628"/>
                  <a:pt x="1289988" y="1625066"/>
                  <a:pt x="1067892" y="1639954"/>
                </a:cubicBezTo>
                <a:cubicBezTo>
                  <a:pt x="845796" y="1654842"/>
                  <a:pt x="441256" y="1609668"/>
                  <a:pt x="273331" y="1639954"/>
                </a:cubicBezTo>
                <a:cubicBezTo>
                  <a:pt x="124050" y="1643347"/>
                  <a:pt x="28615" y="1495035"/>
                  <a:pt x="0" y="1366623"/>
                </a:cubicBezTo>
                <a:cubicBezTo>
                  <a:pt x="-32219" y="1157781"/>
                  <a:pt x="40373" y="958258"/>
                  <a:pt x="0" y="830910"/>
                </a:cubicBezTo>
                <a:cubicBezTo>
                  <a:pt x="-40373" y="703562"/>
                  <a:pt x="53196" y="519886"/>
                  <a:pt x="0" y="273331"/>
                </a:cubicBezTo>
                <a:close/>
              </a:path>
              <a:path w="3903960" h="1639954" stroke="0" extrusionOk="0">
                <a:moveTo>
                  <a:pt x="0" y="273331"/>
                </a:moveTo>
                <a:cubicBezTo>
                  <a:pt x="-11561" y="158961"/>
                  <a:pt x="135736" y="-13124"/>
                  <a:pt x="273331" y="0"/>
                </a:cubicBezTo>
                <a:cubicBezTo>
                  <a:pt x="476279" y="-41089"/>
                  <a:pt x="666852" y="17516"/>
                  <a:pt x="765735" y="0"/>
                </a:cubicBezTo>
                <a:cubicBezTo>
                  <a:pt x="864618" y="-17516"/>
                  <a:pt x="1093164" y="53147"/>
                  <a:pt x="1258138" y="0"/>
                </a:cubicBezTo>
                <a:cubicBezTo>
                  <a:pt x="1423112" y="-53147"/>
                  <a:pt x="1690580" y="28766"/>
                  <a:pt x="1817688" y="0"/>
                </a:cubicBezTo>
                <a:cubicBezTo>
                  <a:pt x="1944796" y="-28766"/>
                  <a:pt x="2153019" y="44955"/>
                  <a:pt x="2276519" y="0"/>
                </a:cubicBezTo>
                <a:cubicBezTo>
                  <a:pt x="2400019" y="-44955"/>
                  <a:pt x="2555995" y="22833"/>
                  <a:pt x="2768923" y="0"/>
                </a:cubicBezTo>
                <a:cubicBezTo>
                  <a:pt x="2981851" y="-22833"/>
                  <a:pt x="3381351" y="36593"/>
                  <a:pt x="3630629" y="0"/>
                </a:cubicBezTo>
                <a:cubicBezTo>
                  <a:pt x="3789071" y="-16478"/>
                  <a:pt x="3924852" y="109666"/>
                  <a:pt x="3903960" y="273331"/>
                </a:cubicBezTo>
                <a:cubicBezTo>
                  <a:pt x="3907055" y="471949"/>
                  <a:pt x="3842177" y="558849"/>
                  <a:pt x="3903960" y="819977"/>
                </a:cubicBezTo>
                <a:cubicBezTo>
                  <a:pt x="3965743" y="1081105"/>
                  <a:pt x="3894602" y="1185882"/>
                  <a:pt x="3903960" y="1366623"/>
                </a:cubicBezTo>
                <a:cubicBezTo>
                  <a:pt x="3904612" y="1546761"/>
                  <a:pt x="3753104" y="1648329"/>
                  <a:pt x="3630629" y="1639954"/>
                </a:cubicBezTo>
                <a:cubicBezTo>
                  <a:pt x="3517453" y="1651252"/>
                  <a:pt x="3310791" y="1611605"/>
                  <a:pt x="3104652" y="1639954"/>
                </a:cubicBezTo>
                <a:cubicBezTo>
                  <a:pt x="2898513" y="1668303"/>
                  <a:pt x="2784345" y="1610497"/>
                  <a:pt x="2545103" y="1639954"/>
                </a:cubicBezTo>
                <a:cubicBezTo>
                  <a:pt x="2305861" y="1669411"/>
                  <a:pt x="2155914" y="1607105"/>
                  <a:pt x="1951980" y="1639954"/>
                </a:cubicBezTo>
                <a:cubicBezTo>
                  <a:pt x="1748046" y="1672803"/>
                  <a:pt x="1640141" y="1598478"/>
                  <a:pt x="1426003" y="1639954"/>
                </a:cubicBezTo>
                <a:cubicBezTo>
                  <a:pt x="1211865" y="1681430"/>
                  <a:pt x="1152289" y="1610632"/>
                  <a:pt x="933600" y="1639954"/>
                </a:cubicBezTo>
                <a:cubicBezTo>
                  <a:pt x="714911" y="1669276"/>
                  <a:pt x="459985" y="1613831"/>
                  <a:pt x="273331" y="1639954"/>
                </a:cubicBezTo>
                <a:cubicBezTo>
                  <a:pt x="150263" y="1653964"/>
                  <a:pt x="-5729" y="1514955"/>
                  <a:pt x="0" y="1366623"/>
                </a:cubicBezTo>
                <a:cubicBezTo>
                  <a:pt x="-30774" y="1161284"/>
                  <a:pt x="38533" y="1053084"/>
                  <a:pt x="0" y="830910"/>
                </a:cubicBezTo>
                <a:cubicBezTo>
                  <a:pt x="-38533" y="608736"/>
                  <a:pt x="31312" y="397204"/>
                  <a:pt x="0" y="273331"/>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219078">
              <a:defRPr/>
            </a:pPr>
            <a:r>
              <a:rPr lang="nb-NO" sz="2400" b="1" dirty="0">
                <a:solidFill>
                  <a:prstClr val="white"/>
                </a:solidFill>
                <a:latin typeface="Calibri" panose="020F0502020204030204"/>
              </a:rPr>
              <a:t>Tilpasningsevne og kritikalitet </a:t>
            </a:r>
          </a:p>
        </p:txBody>
      </p:sp>
      <p:cxnSp>
        <p:nvCxnSpPr>
          <p:cNvPr id="30" name="Rett pilkobling 29">
            <a:extLst>
              <a:ext uri="{FF2B5EF4-FFF2-40B4-BE49-F238E27FC236}">
                <a16:creationId xmlns:a16="http://schemas.microsoft.com/office/drawing/2014/main" id="{3D3E0BD9-36D0-C914-29CF-0282CFC7F18D}"/>
              </a:ext>
            </a:extLst>
          </p:cNvPr>
          <p:cNvCxnSpPr>
            <a:cxnSpLocks/>
            <a:stCxn id="28" idx="0"/>
            <a:endCxn id="24" idx="2"/>
          </p:cNvCxnSpPr>
          <p:nvPr/>
        </p:nvCxnSpPr>
        <p:spPr>
          <a:xfrm flipV="1">
            <a:off x="3021955" y="4572000"/>
            <a:ext cx="0" cy="1480311"/>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34" name="Rett pilkobling 33">
            <a:extLst>
              <a:ext uri="{FF2B5EF4-FFF2-40B4-BE49-F238E27FC236}">
                <a16:creationId xmlns:a16="http://schemas.microsoft.com/office/drawing/2014/main" id="{3D8870B7-7C56-83FA-BE1D-52881FC4181D}"/>
              </a:ext>
            </a:extLst>
          </p:cNvPr>
          <p:cNvCxnSpPr>
            <a:cxnSpLocks/>
            <a:stCxn id="24" idx="3"/>
            <a:endCxn id="7" idx="1"/>
          </p:cNvCxnSpPr>
          <p:nvPr/>
        </p:nvCxnSpPr>
        <p:spPr>
          <a:xfrm flipV="1">
            <a:off x="4973935" y="3739803"/>
            <a:ext cx="1201291" cy="12220"/>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37" name="Rett pilkobling 36">
            <a:extLst>
              <a:ext uri="{FF2B5EF4-FFF2-40B4-BE49-F238E27FC236}">
                <a16:creationId xmlns:a16="http://schemas.microsoft.com/office/drawing/2014/main" id="{9648B81A-4002-E8B7-1A84-298D7DCDC19B}"/>
              </a:ext>
            </a:extLst>
          </p:cNvPr>
          <p:cNvCxnSpPr>
            <a:cxnSpLocks/>
            <a:stCxn id="28" idx="0"/>
            <a:endCxn id="27" idx="2"/>
          </p:cNvCxnSpPr>
          <p:nvPr/>
        </p:nvCxnSpPr>
        <p:spPr>
          <a:xfrm flipV="1">
            <a:off x="3021955" y="4555194"/>
            <a:ext cx="10547578" cy="1497118"/>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40" name="Rett pilkobling 39">
            <a:extLst>
              <a:ext uri="{FF2B5EF4-FFF2-40B4-BE49-F238E27FC236}">
                <a16:creationId xmlns:a16="http://schemas.microsoft.com/office/drawing/2014/main" id="{F6E8A12D-18AE-DC44-EF35-B9B7EFA4D088}"/>
              </a:ext>
            </a:extLst>
          </p:cNvPr>
          <p:cNvCxnSpPr>
            <a:cxnSpLocks/>
            <a:stCxn id="28" idx="3"/>
            <a:endCxn id="29" idx="1"/>
          </p:cNvCxnSpPr>
          <p:nvPr/>
        </p:nvCxnSpPr>
        <p:spPr>
          <a:xfrm>
            <a:off x="4973935" y="6872289"/>
            <a:ext cx="2243050" cy="0"/>
          </a:xfrm>
          <a:prstGeom prst="straightConnector1">
            <a:avLst/>
          </a:prstGeom>
          <a:ln w="571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43" name="Rett pilkobling 42">
            <a:extLst>
              <a:ext uri="{FF2B5EF4-FFF2-40B4-BE49-F238E27FC236}">
                <a16:creationId xmlns:a16="http://schemas.microsoft.com/office/drawing/2014/main" id="{3AE9237D-2343-19D7-B3B4-5A57ED4B2F7A}"/>
              </a:ext>
            </a:extLst>
          </p:cNvPr>
          <p:cNvCxnSpPr>
            <a:cxnSpLocks/>
            <a:stCxn id="27" idx="2"/>
            <a:endCxn id="29" idx="0"/>
          </p:cNvCxnSpPr>
          <p:nvPr/>
        </p:nvCxnSpPr>
        <p:spPr>
          <a:xfrm flipH="1">
            <a:off x="9168965" y="4555194"/>
            <a:ext cx="4400568" cy="1497118"/>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47" name="Rett pilkobling 46">
            <a:extLst>
              <a:ext uri="{FF2B5EF4-FFF2-40B4-BE49-F238E27FC236}">
                <a16:creationId xmlns:a16="http://schemas.microsoft.com/office/drawing/2014/main" id="{F0127057-E00D-2D91-939C-210335C8AEF1}"/>
              </a:ext>
            </a:extLst>
          </p:cNvPr>
          <p:cNvCxnSpPr>
            <a:cxnSpLocks/>
            <a:stCxn id="28" idx="0"/>
            <a:endCxn id="7" idx="1"/>
          </p:cNvCxnSpPr>
          <p:nvPr/>
        </p:nvCxnSpPr>
        <p:spPr>
          <a:xfrm flipV="1">
            <a:off x="3021955" y="3739803"/>
            <a:ext cx="3153271" cy="2312509"/>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50" name="Rett pilkobling 49">
            <a:extLst>
              <a:ext uri="{FF2B5EF4-FFF2-40B4-BE49-F238E27FC236}">
                <a16:creationId xmlns:a16="http://schemas.microsoft.com/office/drawing/2014/main" id="{13F0114D-18BA-1B35-7080-8D19C621BAD5}"/>
              </a:ext>
            </a:extLst>
          </p:cNvPr>
          <p:cNvCxnSpPr>
            <a:cxnSpLocks/>
            <a:stCxn id="27" idx="1"/>
            <a:endCxn id="7" idx="3"/>
          </p:cNvCxnSpPr>
          <p:nvPr/>
        </p:nvCxnSpPr>
        <p:spPr>
          <a:xfrm flipH="1">
            <a:off x="10079186" y="3735217"/>
            <a:ext cx="1538367" cy="4586"/>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20" name="Rett pilkobling 19">
            <a:extLst>
              <a:ext uri="{FF2B5EF4-FFF2-40B4-BE49-F238E27FC236}">
                <a16:creationId xmlns:a16="http://schemas.microsoft.com/office/drawing/2014/main" id="{7AF3481F-1F31-0AB3-EE1F-0D3D8D5B61AE}"/>
              </a:ext>
            </a:extLst>
          </p:cNvPr>
          <p:cNvCxnSpPr>
            <a:cxnSpLocks/>
          </p:cNvCxnSpPr>
          <p:nvPr/>
        </p:nvCxnSpPr>
        <p:spPr>
          <a:xfrm flipV="1">
            <a:off x="10118747" y="3983725"/>
            <a:ext cx="1498807" cy="16545"/>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13" name="Kobling: vinkel 12">
            <a:extLst>
              <a:ext uri="{FF2B5EF4-FFF2-40B4-BE49-F238E27FC236}">
                <a16:creationId xmlns:a16="http://schemas.microsoft.com/office/drawing/2014/main" id="{E781F54B-CB3B-9923-D249-23C95C1826BA}"/>
              </a:ext>
            </a:extLst>
          </p:cNvPr>
          <p:cNvCxnSpPr>
            <a:cxnSpLocks/>
            <a:stCxn id="24" idx="0"/>
            <a:endCxn id="27" idx="0"/>
          </p:cNvCxnSpPr>
          <p:nvPr/>
        </p:nvCxnSpPr>
        <p:spPr>
          <a:xfrm rot="5400000" flipH="1" flipV="1">
            <a:off x="8287341" y="-2350147"/>
            <a:ext cx="16806" cy="10547578"/>
          </a:xfrm>
          <a:prstGeom prst="bentConnector3">
            <a:avLst>
              <a:gd name="adj1" fmla="val 1913422"/>
            </a:avLst>
          </a:prstGeom>
          <a:ln w="57150">
            <a:tailEnd type="triangle"/>
          </a:ln>
        </p:spPr>
        <p:style>
          <a:lnRef idx="1">
            <a:schemeClr val="accent2"/>
          </a:lnRef>
          <a:fillRef idx="0">
            <a:schemeClr val="accent2"/>
          </a:fillRef>
          <a:effectRef idx="0">
            <a:schemeClr val="accent2"/>
          </a:effectRef>
          <a:fontRef idx="minor">
            <a:schemeClr val="tx1"/>
          </a:fontRef>
        </p:style>
      </p:cxnSp>
      <p:pic>
        <p:nvPicPr>
          <p:cNvPr id="5" name="Bilde 4" descr="Et bilde som inneholder klær, møbler, sko, stol&#10;&#10;Automatisk generert beskrivelse">
            <a:extLst>
              <a:ext uri="{FF2B5EF4-FFF2-40B4-BE49-F238E27FC236}">
                <a16:creationId xmlns:a16="http://schemas.microsoft.com/office/drawing/2014/main" id="{ECB36FC3-8A99-3A88-24E3-A44D025C9C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17553" y="5315992"/>
            <a:ext cx="4555098" cy="3644078"/>
          </a:xfrm>
          <a:prstGeom prst="rect">
            <a:avLst/>
          </a:prstGeom>
        </p:spPr>
      </p:pic>
    </p:spTree>
    <p:extLst>
      <p:ext uri="{BB962C8B-B14F-4D97-AF65-F5344CB8AC3E}">
        <p14:creationId xmlns:p14="http://schemas.microsoft.com/office/powerpoint/2010/main" val="18375719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Laissez-Faire Leadership: Why Doing Nothing is as Bad as Doing Something  Wrong | Lead Read Today | Lead Read Today">
            <a:extLst>
              <a:ext uri="{FF2B5EF4-FFF2-40B4-BE49-F238E27FC236}">
                <a16:creationId xmlns:a16="http://schemas.microsoft.com/office/drawing/2014/main" id="{0FE3D168-C021-C222-F3BD-978573CA8BF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32621" y="6618067"/>
            <a:ext cx="4489754" cy="2525487"/>
          </a:xfrm>
          <a:prstGeom prst="rect">
            <a:avLst/>
          </a:prstGeom>
          <a:noFill/>
          <a:extLst>
            <a:ext uri="{909E8E84-426E-40DD-AFC4-6F175D3DCCD1}">
              <a14:hiddenFill xmlns:a14="http://schemas.microsoft.com/office/drawing/2010/main">
                <a:solidFill>
                  <a:srgbClr val="FFFFFF"/>
                </a:solidFill>
              </a14:hiddenFill>
            </a:ext>
          </a:extLst>
        </p:spPr>
      </p:pic>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p:txBody>
          <a:bodyPr vert="horz" lIns="0" tIns="0" rIns="0" bIns="0" rtlCol="0" anchor="t">
            <a:normAutofit fontScale="92500" lnSpcReduction="10000"/>
          </a:bodyPr>
          <a:lstStyle/>
          <a:p>
            <a:pPr marL="0" indent="0">
              <a:buNone/>
            </a:pPr>
            <a:r>
              <a:rPr lang="nb-NO" sz="2666" b="1" dirty="0"/>
              <a:t>Utfordringer</a:t>
            </a:r>
            <a:r>
              <a:rPr lang="nb-NO" sz="2666" dirty="0"/>
              <a:t>	</a:t>
            </a:r>
          </a:p>
          <a:p>
            <a:pPr marL="404666" indent="-404666"/>
            <a:r>
              <a:rPr lang="nb-NO" sz="2666" dirty="0"/>
              <a:t>Komplisert og ikke beskrevet aktørbilde med tilhørende ansvar</a:t>
            </a:r>
            <a:endParaRPr lang="nb-NO" sz="2666" dirty="0">
              <a:cs typeface="Arial"/>
            </a:endParaRPr>
          </a:p>
          <a:p>
            <a:pPr marL="404666" indent="-404666"/>
            <a:r>
              <a:rPr lang="nb-NO" sz="2666" dirty="0"/>
              <a:t>Mangel på felles rutiner og standarder for forvaltning </a:t>
            </a:r>
            <a:endParaRPr lang="nb-NO" sz="2666" dirty="0">
              <a:cs typeface="Arial"/>
            </a:endParaRPr>
          </a:p>
          <a:p>
            <a:pPr marL="404666" indent="-404666"/>
            <a:r>
              <a:rPr lang="nb-NO" sz="2666" dirty="0"/>
              <a:t>Felleskildene er ikke styrt og forvaltet som fellesgoder</a:t>
            </a:r>
            <a:endParaRPr lang="nb-NO" sz="2666" dirty="0">
              <a:cs typeface="Arial"/>
            </a:endParaRPr>
          </a:p>
          <a:p>
            <a:pPr marL="404666" indent="-404666"/>
            <a:r>
              <a:rPr lang="nb-NO" sz="2666" dirty="0"/>
              <a:t>Vanskelig å få prioritert videreutvikling – kun forvaltning </a:t>
            </a:r>
            <a:endParaRPr lang="nb-NO" sz="2666" dirty="0">
              <a:cs typeface="Arial"/>
            </a:endParaRPr>
          </a:p>
          <a:p>
            <a:pPr marL="404666" indent="-404666"/>
            <a:r>
              <a:rPr lang="nb-NO" sz="2666" dirty="0"/>
              <a:t>Ingen har mandat til å se på behovet fra et helhetlig perspektiv</a:t>
            </a:r>
          </a:p>
          <a:p>
            <a:pPr marL="404666" indent="-404666"/>
            <a:r>
              <a:rPr lang="nb-NO" sz="2666" dirty="0"/>
              <a:t>For tilbydere er det vanskelig å holde oversikt over og imøtekomme ulike og spredte behov</a:t>
            </a:r>
            <a:endParaRPr lang="nb-NO" sz="2666" dirty="0">
              <a:cs typeface="Arial"/>
            </a:endParaRP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p:txBody>
          <a:bodyPr vert="horz" lIns="0" tIns="0" rIns="0" bIns="0" rtlCol="0" anchor="t">
            <a:normAutofit/>
          </a:bodyPr>
          <a:lstStyle/>
          <a:p>
            <a:pPr marL="0" indent="0">
              <a:buNone/>
            </a:pPr>
            <a:r>
              <a:rPr lang="nb-NO" sz="2666" b="1" dirty="0"/>
              <a:t>Konsekvens </a:t>
            </a:r>
            <a:endParaRPr lang="nb-NO" b="1" dirty="0"/>
          </a:p>
          <a:p>
            <a:pPr marL="404666" indent="-404666"/>
            <a:r>
              <a:rPr lang="nb-NO" sz="2666" dirty="0"/>
              <a:t>Gjør det komplisert å være konsument og tilbyder</a:t>
            </a:r>
            <a:endParaRPr lang="nb-NO" sz="2666" dirty="0">
              <a:cs typeface="Arial"/>
            </a:endParaRPr>
          </a:p>
          <a:p>
            <a:pPr marL="404666" indent="-404666"/>
            <a:r>
              <a:rPr lang="nb-NO" sz="2666" dirty="0"/>
              <a:t>Direkte årsak til at det ikke finnes en helhetlig tilnærming til opplysningene</a:t>
            </a:r>
            <a:endParaRPr lang="nb-NO" sz="2666" dirty="0">
              <a:cs typeface="Arial"/>
            </a:endParaRPr>
          </a:p>
          <a:p>
            <a:pPr marL="404666" indent="-404666"/>
            <a:r>
              <a:rPr lang="nb-NO" sz="2666" dirty="0"/>
              <a:t>Ulike initiativ for å tenke mer helhetlig oppstår fra «grasrota», men det finnes ingen helhetlig koordinering eller strategi for hvordan dette bør gjøres</a:t>
            </a:r>
            <a:endParaRPr lang="nb-NO" sz="2666" dirty="0">
              <a:cs typeface="Arial"/>
            </a:endParaRPr>
          </a:p>
          <a:p>
            <a:pPr marL="0" indent="0">
              <a:buNone/>
            </a:pPr>
            <a:endParaRPr lang="nb-NO" sz="2666" dirty="0">
              <a:cs typeface="Arial"/>
            </a:endParaRPr>
          </a:p>
          <a:p>
            <a:pPr marL="404666" indent="-404666"/>
            <a:endParaRPr lang="nb-NO" dirty="0">
              <a:cs typeface="Arial" panose="020B0604020202020204"/>
            </a:endParaRPr>
          </a:p>
          <a:p>
            <a:pPr marL="404666" indent="-404666"/>
            <a:endParaRPr lang="nb-NO" dirty="0">
              <a:cs typeface="Arial" panose="020B0604020202020204"/>
            </a:endParaRP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a:xfrm>
            <a:off x="1069974" y="1269924"/>
            <a:ext cx="15053822" cy="692430"/>
          </a:xfrm>
        </p:spPr>
        <p:txBody>
          <a:bodyPr/>
          <a:lstStyle/>
          <a:p>
            <a:r>
              <a:rPr lang="nb-NO" sz="4800" b="1" dirty="0"/>
              <a:t>Laissez-faire - fravær av felles modell</a:t>
            </a:r>
          </a:p>
        </p:txBody>
      </p:sp>
    </p:spTree>
    <p:extLst>
      <p:ext uri="{BB962C8B-B14F-4D97-AF65-F5344CB8AC3E}">
        <p14:creationId xmlns:p14="http://schemas.microsoft.com/office/powerpoint/2010/main" val="2146830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a:xfrm>
            <a:off x="1069974" y="2273387"/>
            <a:ext cx="7640038" cy="6155724"/>
          </a:xfrm>
        </p:spPr>
        <p:txBody>
          <a:bodyPr>
            <a:normAutofit/>
          </a:bodyPr>
          <a:lstStyle/>
          <a:p>
            <a:pPr marL="0" indent="0">
              <a:buNone/>
            </a:pPr>
            <a:r>
              <a:rPr lang="nb-NO" sz="2133" b="1" dirty="0"/>
              <a:t>Utfordringer</a:t>
            </a:r>
            <a:r>
              <a:rPr lang="nb-NO" sz="2133" dirty="0"/>
              <a:t>		</a:t>
            </a:r>
          </a:p>
          <a:p>
            <a:r>
              <a:rPr lang="nb-NO" sz="2133" dirty="0"/>
              <a:t>Den som registrerer opplysningene har ikke nødvendigvis en forståelse for hvordan de blir brukt videre</a:t>
            </a:r>
          </a:p>
          <a:p>
            <a:r>
              <a:rPr lang="nb-NO" sz="2133" dirty="0"/>
              <a:t>For lite finansiering og oppmerksomhet medfører teknisk gjeld og svekket datakvalitet</a:t>
            </a:r>
          </a:p>
          <a:p>
            <a:r>
              <a:rPr lang="nb-NO" sz="2133" dirty="0"/>
              <a:t>Dokumentasjon av datakvalitet er mangelfull</a:t>
            </a:r>
          </a:p>
          <a:p>
            <a:r>
              <a:rPr lang="nb-NO" sz="2133" dirty="0"/>
              <a:t>Vanskelig å korrigere feil når de er i systemet – både for den registrerte og for konsumentene</a:t>
            </a:r>
          </a:p>
          <a:p>
            <a:r>
              <a:rPr lang="nb-NO" sz="2133" dirty="0"/>
              <a:t>Ansvar for oppdatering av opplysninger er ikke fordelt</a:t>
            </a:r>
          </a:p>
          <a:p>
            <a:r>
              <a:rPr lang="nb-NO" sz="2133" dirty="0"/>
              <a:t>Datakvaliteten heves flere ganger, uten at kvaliteten i opprinnelig kilde blir hevet</a:t>
            </a:r>
          </a:p>
          <a:p>
            <a:r>
              <a:rPr lang="nb-NO" sz="2133" dirty="0"/>
              <a:t>Kostnad knyttet til registrering og produksjon når dataene skal innhentes er undervurdert</a:t>
            </a: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a:xfrm>
            <a:off x="9175186" y="2273387"/>
            <a:ext cx="6737027" cy="6155724"/>
          </a:xfrm>
        </p:spPr>
        <p:txBody>
          <a:bodyPr>
            <a:normAutofit fontScale="77500" lnSpcReduction="20000"/>
          </a:bodyPr>
          <a:lstStyle/>
          <a:p>
            <a:pPr marL="0" indent="0">
              <a:buNone/>
            </a:pPr>
            <a:r>
              <a:rPr lang="nb-NO" b="1" dirty="0"/>
              <a:t>Konsekvens </a:t>
            </a:r>
          </a:p>
          <a:p>
            <a:r>
              <a:rPr lang="nb-NO" dirty="0"/>
              <a:t>Tettere knytninger og bruk av felles kilder fører til større konsekvens av feil i kildene for den registrerte </a:t>
            </a:r>
          </a:p>
          <a:p>
            <a:r>
              <a:rPr lang="nb-NO" dirty="0"/>
              <a:t>For stor oppmerksomhet om primærbruk av data og for lite oppmerksomhet om nye fomål</a:t>
            </a:r>
          </a:p>
          <a:p>
            <a:r>
              <a:rPr lang="nb-NO" sz="2666" dirty="0"/>
              <a:t>Tvil om hvilke data som er autoritative</a:t>
            </a:r>
          </a:p>
          <a:p>
            <a:r>
              <a:rPr lang="nb-NO" sz="2666" dirty="0"/>
              <a:t>Lav tillit til andres data</a:t>
            </a:r>
          </a:p>
          <a:p>
            <a:r>
              <a:rPr lang="nb-NO" sz="2666" dirty="0"/>
              <a:t>Usikkerhet om egnetheten av data til nye formål</a:t>
            </a:r>
          </a:p>
          <a:p>
            <a:r>
              <a:rPr lang="nb-NO" dirty="0"/>
              <a:t>Beslutninger blir tatt med feil grunnlag/ feil i saksbehandlingen</a:t>
            </a:r>
          </a:p>
          <a:p>
            <a:r>
              <a:rPr lang="nb-NO" dirty="0"/>
              <a:t>Automatisering blir krevende</a:t>
            </a:r>
          </a:p>
          <a:p>
            <a:r>
              <a:rPr lang="nb-NO" dirty="0"/>
              <a:t>Utvikling av nye (sammenhengende)tjenester stiller strengere datakvalitet og utviklingen kan forsinkes </a:t>
            </a:r>
          </a:p>
          <a:p>
            <a:r>
              <a:rPr lang="nb-NO" dirty="0"/>
              <a:t>Kompenserende tiltak/aktiviteter i etater og kommuner (skjønnsutøvelse/programvareutvikling)</a:t>
            </a:r>
          </a:p>
          <a:p>
            <a:endParaRPr lang="nb-NO" dirty="0"/>
          </a:p>
          <a:p>
            <a:endParaRPr lang="nb-NO" dirty="0"/>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p:txBody>
          <a:bodyPr/>
          <a:lstStyle/>
          <a:p>
            <a:r>
              <a:rPr lang="nb-NO" sz="4800" b="1" dirty="0"/>
              <a:t>Datakvalitet</a:t>
            </a:r>
            <a:endParaRPr lang="nb-NO" dirty="0"/>
          </a:p>
        </p:txBody>
      </p:sp>
    </p:spTree>
    <p:extLst>
      <p:ext uri="{BB962C8B-B14F-4D97-AF65-F5344CB8AC3E}">
        <p14:creationId xmlns:p14="http://schemas.microsoft.com/office/powerpoint/2010/main" val="2485997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a:xfrm>
            <a:off x="1069974" y="2679748"/>
            <a:ext cx="6934523" cy="6155724"/>
          </a:xfrm>
        </p:spPr>
        <p:txBody>
          <a:bodyPr>
            <a:normAutofit lnSpcReduction="10000"/>
          </a:bodyPr>
          <a:lstStyle/>
          <a:p>
            <a:pPr marL="0" indent="0">
              <a:buNone/>
            </a:pPr>
            <a:r>
              <a:rPr lang="nb-NO" sz="2800" b="1" dirty="0"/>
              <a:t>Utfordringer</a:t>
            </a:r>
            <a:r>
              <a:rPr lang="nb-NO" sz="3200" dirty="0"/>
              <a:t>	</a:t>
            </a:r>
          </a:p>
          <a:p>
            <a:r>
              <a:rPr lang="nb-NO" sz="2800" dirty="0"/>
              <a:t>Konsumentene må forholde seg til mange tilbydere som har ulike rutiner og standarder</a:t>
            </a:r>
          </a:p>
          <a:p>
            <a:r>
              <a:rPr lang="nb-NO" sz="2800" dirty="0"/>
              <a:t>Krevende for konsument å utrede eget databehov</a:t>
            </a:r>
            <a:endParaRPr lang="nb-NO" sz="2800" dirty="0">
              <a:solidFill>
                <a:schemeClr val="tx1"/>
              </a:solidFill>
            </a:endParaRPr>
          </a:p>
          <a:p>
            <a:r>
              <a:rPr lang="nb-NO" sz="2800" dirty="0"/>
              <a:t>Konsumentenes samlede behov er ikke hensyntatt</a:t>
            </a:r>
          </a:p>
          <a:p>
            <a:r>
              <a:rPr lang="nb-NO" sz="2800" dirty="0"/>
              <a:t>Konsumentene er prisgitt tilbyders prioriteringer</a:t>
            </a:r>
          </a:p>
          <a:p>
            <a:r>
              <a:rPr lang="nb-NO" sz="2800" dirty="0"/>
              <a:t>Mange konsumenter sliter med gamle, lite fleksible systemer (og leverandører)</a:t>
            </a: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a:xfrm>
            <a:off x="8249914" y="2679748"/>
            <a:ext cx="6934523" cy="6155724"/>
          </a:xfrm>
        </p:spPr>
        <p:txBody>
          <a:bodyPr>
            <a:normAutofit/>
          </a:bodyPr>
          <a:lstStyle/>
          <a:p>
            <a:pPr marL="0" indent="0">
              <a:buNone/>
            </a:pPr>
            <a:r>
              <a:rPr lang="nb-NO" b="1" dirty="0"/>
              <a:t>Konsekvenser </a:t>
            </a:r>
          </a:p>
          <a:p>
            <a:r>
              <a:rPr lang="nb-NO" dirty="0"/>
              <a:t>Lite bruk og tapte gevinster av digitalisering</a:t>
            </a:r>
          </a:p>
          <a:p>
            <a:r>
              <a:rPr lang="nb-NO" dirty="0"/>
              <a:t>Avhengigheter til datakildene blir en risiko og kostnad for tilbydere og konsumenter </a:t>
            </a:r>
          </a:p>
          <a:p>
            <a:r>
              <a:rPr lang="nb-NO" dirty="0"/>
              <a:t>Utfordrer mål om sammenhengende tjenester og økosystemer</a:t>
            </a:r>
          </a:p>
          <a:p>
            <a:r>
              <a:rPr lang="nb-NO" dirty="0"/>
              <a:t>I ytterste konsekvens er det enklere å hente opplysningene direkte fra den registrerte selv </a:t>
            </a: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a:xfrm>
            <a:off x="1069975" y="1531158"/>
            <a:ext cx="14114462" cy="692430"/>
          </a:xfrm>
        </p:spPr>
        <p:txBody>
          <a:bodyPr/>
          <a:lstStyle/>
          <a:p>
            <a:r>
              <a:rPr lang="nb-NO" sz="4800" b="1" dirty="0"/>
              <a:t>Vanskelig å være konsument </a:t>
            </a:r>
          </a:p>
        </p:txBody>
      </p:sp>
    </p:spTree>
    <p:extLst>
      <p:ext uri="{BB962C8B-B14F-4D97-AF65-F5344CB8AC3E}">
        <p14:creationId xmlns:p14="http://schemas.microsoft.com/office/powerpoint/2010/main" val="21039165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a:xfrm>
            <a:off x="1069974" y="2679748"/>
            <a:ext cx="6934523" cy="6155724"/>
          </a:xfrm>
        </p:spPr>
        <p:txBody>
          <a:bodyPr>
            <a:normAutofit lnSpcReduction="10000"/>
          </a:bodyPr>
          <a:lstStyle/>
          <a:p>
            <a:pPr marL="0" indent="0">
              <a:buNone/>
            </a:pPr>
            <a:r>
              <a:rPr lang="nb-NO" sz="2800" b="1" dirty="0"/>
              <a:t>Utfordringer</a:t>
            </a:r>
            <a:r>
              <a:rPr lang="nb-NO" dirty="0"/>
              <a:t>	</a:t>
            </a:r>
          </a:p>
          <a:p>
            <a:r>
              <a:rPr lang="nb-NO" sz="2800" dirty="0"/>
              <a:t>God forvaltning utfordres av interne prioriteringer</a:t>
            </a:r>
          </a:p>
          <a:p>
            <a:r>
              <a:rPr lang="nb-NO" sz="2800" dirty="0"/>
              <a:t>Krevende med løpende forpliktelser om å dele data</a:t>
            </a:r>
          </a:p>
          <a:p>
            <a:r>
              <a:rPr lang="nb-NO" sz="2800" dirty="0"/>
              <a:t>Krevende å imøtekomme forventninger om datainnhold, -struktur og –kvalitet</a:t>
            </a:r>
          </a:p>
          <a:p>
            <a:r>
              <a:rPr lang="nb-NO" sz="2800" dirty="0"/>
              <a:t>Krevende å imøtekomme forventninger leveranser, ytelser, responstid etc.</a:t>
            </a:r>
          </a:p>
          <a:p>
            <a:r>
              <a:rPr lang="nb-NO" sz="2800" dirty="0"/>
              <a:t>Umodne konsumenter krever mye oppfølging ved oppkobling og ved endringer</a:t>
            </a: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a:xfrm>
            <a:off x="8249914" y="2679748"/>
            <a:ext cx="6934523" cy="6155724"/>
          </a:xfrm>
        </p:spPr>
        <p:txBody>
          <a:bodyPr>
            <a:normAutofit fontScale="92500" lnSpcReduction="10000"/>
          </a:bodyPr>
          <a:lstStyle/>
          <a:p>
            <a:pPr marL="0" indent="0">
              <a:buNone/>
            </a:pPr>
            <a:r>
              <a:rPr lang="nb-NO" b="1" dirty="0"/>
              <a:t>Konsekvenser </a:t>
            </a:r>
          </a:p>
          <a:p>
            <a:r>
              <a:rPr lang="nb-NO" sz="2666" dirty="0"/>
              <a:t>Manglende rammer til videreutvikling fordi datadeling kommer i konkurranse med interne utvikling/behov</a:t>
            </a:r>
          </a:p>
          <a:p>
            <a:r>
              <a:rPr lang="nb-NO" sz="2666" dirty="0"/>
              <a:t>Krevende å holde oversikt over kritiske og ikke kritiske avhengighet</a:t>
            </a:r>
            <a:r>
              <a:rPr lang="nb-NO" sz="2666" dirty="0">
                <a:solidFill>
                  <a:schemeClr val="tx1"/>
                </a:solidFill>
              </a:rPr>
              <a:t>er</a:t>
            </a:r>
            <a:r>
              <a:rPr lang="nb-NO" sz="2666" dirty="0"/>
              <a:t> til egne data hos konsumenter</a:t>
            </a:r>
          </a:p>
          <a:p>
            <a:r>
              <a:rPr lang="nb-NO" sz="2666" dirty="0"/>
              <a:t>Skapes en direkte kobling mellom interne prosesser og eksterne verdikjeder og økosystem</a:t>
            </a:r>
          </a:p>
          <a:p>
            <a:r>
              <a:rPr lang="nb-NO" dirty="0"/>
              <a:t>Mangler/må bygge kompetanse og kapasitet for oppfølging av datadeling</a:t>
            </a:r>
          </a:p>
          <a:p>
            <a:r>
              <a:rPr lang="nb-NO" dirty="0"/>
              <a:t>Krevende endringshåndtering og videreutvikling</a:t>
            </a: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a:xfrm>
            <a:off x="1069975" y="1531158"/>
            <a:ext cx="14114462" cy="692430"/>
          </a:xfrm>
        </p:spPr>
        <p:txBody>
          <a:bodyPr/>
          <a:lstStyle/>
          <a:p>
            <a:r>
              <a:rPr lang="nb-NO" sz="4800" b="1" dirty="0"/>
              <a:t>Vanskelig å være tilbyder</a:t>
            </a:r>
          </a:p>
        </p:txBody>
      </p:sp>
    </p:spTree>
    <p:extLst>
      <p:ext uri="{BB962C8B-B14F-4D97-AF65-F5344CB8AC3E}">
        <p14:creationId xmlns:p14="http://schemas.microsoft.com/office/powerpoint/2010/main" val="6875338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p:txBody>
          <a:bodyPr vert="horz" lIns="0" tIns="0" rIns="0" bIns="0" rtlCol="0" anchor="t">
            <a:normAutofit lnSpcReduction="10000"/>
          </a:bodyPr>
          <a:lstStyle/>
          <a:p>
            <a:pPr marL="0" indent="0">
              <a:buNone/>
            </a:pPr>
            <a:r>
              <a:rPr lang="nb-NO" sz="2666" b="1" dirty="0"/>
              <a:t>Utfordringer</a:t>
            </a:r>
            <a:r>
              <a:rPr lang="nb-NO" sz="2666" dirty="0"/>
              <a:t>	</a:t>
            </a:r>
          </a:p>
          <a:p>
            <a:pPr marL="404666" indent="-404666"/>
            <a:r>
              <a:rPr lang="nb-NO" sz="2666" dirty="0"/>
              <a:t>Fokus på kildene, ikke hva som er det samlede settet med komplette opplysninger</a:t>
            </a:r>
            <a:endParaRPr lang="nb-NO" sz="2666" dirty="0">
              <a:cs typeface="Arial"/>
            </a:endParaRPr>
          </a:p>
          <a:p>
            <a:pPr marL="404666" indent="-404666"/>
            <a:r>
              <a:rPr lang="nb-NO" sz="2666" dirty="0"/>
              <a:t>Begrenset informasjon, spisset formål og kildenær forvaltning er et mål for tilbyderne </a:t>
            </a:r>
            <a:endParaRPr lang="nb-NO" sz="2666" dirty="0">
              <a:cs typeface="Arial"/>
            </a:endParaRPr>
          </a:p>
          <a:p>
            <a:pPr marL="404666" indent="-404666"/>
            <a:r>
              <a:rPr lang="nb-NO" sz="2666" dirty="0"/>
              <a:t>Dagens kilder inneholder ikke alle opplysningene som er vesentlige egenskaper for konsumentene -  inneholder kun deler av bildet </a:t>
            </a:r>
            <a:endParaRPr lang="nb-NO" sz="2666" dirty="0">
              <a:cs typeface="Arial"/>
            </a:endParaRPr>
          </a:p>
          <a:p>
            <a:pPr marL="404666" indent="-404666"/>
            <a:r>
              <a:rPr lang="nb-NO" sz="2666" dirty="0"/>
              <a:t>Dagens kilder har «satellitter» som inneholder den nødvendige tilleggsinformasjonen – i mindre strukturerte former</a:t>
            </a:r>
            <a:endParaRPr lang="nb-NO" sz="2666" dirty="0">
              <a:cs typeface="Arial" panose="020B0604020202020204"/>
            </a:endParaRPr>
          </a:p>
          <a:p>
            <a:pPr marL="404666" indent="-404666"/>
            <a:endParaRPr lang="nb-NO" dirty="0">
              <a:cs typeface="Arial" panose="020B0604020202020204"/>
            </a:endParaRP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p:txBody>
          <a:bodyPr vert="horz" lIns="0" tIns="0" rIns="0" bIns="0" rtlCol="0" anchor="t">
            <a:normAutofit fontScale="92500" lnSpcReduction="20000"/>
          </a:bodyPr>
          <a:lstStyle/>
          <a:p>
            <a:pPr marL="0" indent="0">
              <a:buNone/>
            </a:pPr>
            <a:r>
              <a:rPr lang="nb-NO" sz="2666" b="1" dirty="0"/>
              <a:t>Konsekvens </a:t>
            </a:r>
            <a:endParaRPr lang="nb-NO" b="1" dirty="0"/>
          </a:p>
          <a:p>
            <a:pPr marL="404666" indent="-404666"/>
            <a:r>
              <a:rPr lang="nb-NO" sz="2666" dirty="0"/>
              <a:t>Opplysningene er ikke komplette – utfordrer både datakvalitet og personvern </a:t>
            </a:r>
            <a:endParaRPr lang="nb-NO" sz="2666" dirty="0">
              <a:cs typeface="Arial"/>
            </a:endParaRPr>
          </a:p>
          <a:p>
            <a:pPr marL="404666" indent="-404666"/>
            <a:r>
              <a:rPr lang="nb-NO" sz="2666" dirty="0"/>
              <a:t>Nye datakilder etableres for å dekke konsumentenes behov – skyggeregistre/kopier eller «satellitter» oppstår</a:t>
            </a:r>
            <a:endParaRPr lang="nb-NO" sz="2666" dirty="0">
              <a:cs typeface="Arial"/>
            </a:endParaRPr>
          </a:p>
          <a:p>
            <a:pPr marL="404666" indent="-404666"/>
            <a:r>
              <a:rPr lang="nb-NO" sz="2666" dirty="0"/>
              <a:t>Manglende kombinerbarhet på tvers av kilder</a:t>
            </a:r>
            <a:endParaRPr lang="nb-NO" sz="2666" dirty="0">
              <a:cs typeface="Arial"/>
            </a:endParaRPr>
          </a:p>
          <a:p>
            <a:pPr marL="404666" indent="-404666">
              <a:defRPr/>
            </a:pPr>
            <a:r>
              <a:rPr lang="nb-NO" sz="2666" dirty="0"/>
              <a:t>Dokumentasjonen og tilrettelegging for bruk er ikke tilstrekkelig for sammenhengende tjenester</a:t>
            </a:r>
            <a:endParaRPr lang="nb-NO" sz="2666" dirty="0">
              <a:cs typeface="Arial"/>
            </a:endParaRPr>
          </a:p>
          <a:p>
            <a:pPr marL="404666" indent="-404666">
              <a:defRPr/>
            </a:pPr>
            <a:r>
              <a:rPr lang="nb-NO" sz="2666" dirty="0"/>
              <a:t>Ulik informasjon legges til grunn der det burde vært den samme </a:t>
            </a:r>
            <a:endParaRPr lang="nb-NO" sz="2666" dirty="0">
              <a:cs typeface="Arial"/>
            </a:endParaRPr>
          </a:p>
          <a:p>
            <a:pPr marL="404666" indent="-404666">
              <a:defRPr/>
            </a:pPr>
            <a:r>
              <a:rPr lang="nb-NO" sz="2666" dirty="0"/>
              <a:t>Lange kjeder fra datakilden til sluttsystem</a:t>
            </a:r>
            <a:endParaRPr lang="nb-NO" sz="2666" dirty="0">
              <a:cs typeface="Arial"/>
            </a:endParaRPr>
          </a:p>
          <a:p>
            <a:pPr marL="0" indent="0">
              <a:buNone/>
              <a:defRPr/>
            </a:pPr>
            <a:endParaRPr lang="nb-NO" dirty="0"/>
          </a:p>
          <a:p>
            <a:pPr marL="404666" indent="-404666"/>
            <a:endParaRPr lang="nb-NO" dirty="0">
              <a:cs typeface="Arial" panose="020B0604020202020204"/>
            </a:endParaRP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p:txBody>
          <a:bodyPr/>
          <a:lstStyle/>
          <a:p>
            <a:r>
              <a:rPr lang="nb-NO" sz="4800" b="1" dirty="0"/>
              <a:t>Ingen helhetlig tilnærming til opplysningene    </a:t>
            </a:r>
          </a:p>
        </p:txBody>
      </p:sp>
    </p:spTree>
    <p:extLst>
      <p:ext uri="{BB962C8B-B14F-4D97-AF65-F5344CB8AC3E}">
        <p14:creationId xmlns:p14="http://schemas.microsoft.com/office/powerpoint/2010/main" val="3891405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p:txBody>
          <a:bodyPr>
            <a:normAutofit/>
          </a:bodyPr>
          <a:lstStyle/>
          <a:p>
            <a:pPr marL="0" indent="0">
              <a:buNone/>
            </a:pPr>
            <a:r>
              <a:rPr lang="nb-NO" sz="2666" b="1" dirty="0"/>
              <a:t>Utfordringer</a:t>
            </a:r>
            <a:r>
              <a:rPr lang="nb-NO" dirty="0"/>
              <a:t>	</a:t>
            </a:r>
          </a:p>
          <a:p>
            <a:r>
              <a:rPr lang="nb-NO" dirty="0"/>
              <a:t>Nye bestemmelser fra EU om krav til deling av data forutsetter løsninger og roller og mønstre for forvaltning på et nivå som minner om da GDPR ble innført </a:t>
            </a:r>
          </a:p>
          <a:p>
            <a:r>
              <a:rPr lang="nb-NO" dirty="0"/>
              <a:t>Vi bygger stadig flere tjenester og funksjoner som baserer seg på bruk av opplysninger fra de samme kildene og om de samme tingene – uten å ha et helhetlig blikk på grunnlaget vi bygger det på. </a:t>
            </a: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p:txBody>
          <a:bodyPr/>
          <a:lstStyle/>
          <a:p>
            <a:pPr marL="0" indent="0">
              <a:buNone/>
            </a:pPr>
            <a:r>
              <a:rPr lang="nb-NO" b="1"/>
              <a:t>Konsekvens </a:t>
            </a:r>
          </a:p>
          <a:p>
            <a:r>
              <a:rPr lang="nb-NO"/>
              <a:t>Risiko for feil, svekket tillit, ikke møte krav fra EU, osv.</a:t>
            </a: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p:txBody>
          <a:bodyPr/>
          <a:lstStyle/>
          <a:p>
            <a:r>
              <a:rPr lang="nb-NO" sz="4800" b="1" dirty="0">
                <a:solidFill>
                  <a:schemeClr val="tx1"/>
                </a:solidFill>
              </a:rPr>
              <a:t>Tilpasningsevne</a:t>
            </a:r>
            <a:r>
              <a:rPr lang="nb-NO" sz="4800" b="1" dirty="0"/>
              <a:t> / kritikalitet</a:t>
            </a:r>
          </a:p>
        </p:txBody>
      </p:sp>
      <p:pic>
        <p:nvPicPr>
          <p:cNvPr id="2050" name="Picture 2" descr="Building jenga blocks isolated Images, Stock Photos &amp; Vectors | Shutterstock">
            <a:extLst>
              <a:ext uri="{FF2B5EF4-FFF2-40B4-BE49-F238E27FC236}">
                <a16:creationId xmlns:a16="http://schemas.microsoft.com/office/drawing/2014/main" id="{0DA33663-9BA4-752D-3D6F-A7F84613FBC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10034590" y="4572001"/>
            <a:ext cx="3365171" cy="20804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1321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44B161-A43F-332F-7829-6811F49B37D5}"/>
            </a:ext>
          </a:extLst>
        </p:cNvPr>
        <p:cNvGrpSpPr/>
        <p:nvPr/>
      </p:nvGrpSpPr>
      <p:grpSpPr>
        <a:xfrm>
          <a:off x="0" y="0"/>
          <a:ext cx="0" cy="0"/>
          <a:chOff x="0" y="0"/>
          <a:chExt cx="0" cy="0"/>
        </a:xfrm>
      </p:grpSpPr>
      <p:grpSp>
        <p:nvGrpSpPr>
          <p:cNvPr id="18" name="Gruppe 17">
            <a:extLst>
              <a:ext uri="{FF2B5EF4-FFF2-40B4-BE49-F238E27FC236}">
                <a16:creationId xmlns:a16="http://schemas.microsoft.com/office/drawing/2014/main" id="{5B3420C8-D6F2-8685-D927-6C98C0DE0285}"/>
              </a:ext>
            </a:extLst>
          </p:cNvPr>
          <p:cNvGrpSpPr/>
          <p:nvPr/>
        </p:nvGrpSpPr>
        <p:grpSpPr>
          <a:xfrm rot="16200000">
            <a:off x="8417919" y="1173964"/>
            <a:ext cx="9009219" cy="6662183"/>
            <a:chOff x="5185530" y="1694389"/>
            <a:chExt cx="8876196" cy="6236296"/>
          </a:xfrm>
        </p:grpSpPr>
        <p:sp>
          <p:nvSpPr>
            <p:cNvPr id="8" name="Frihåndsform: figur 7">
              <a:extLst>
                <a:ext uri="{FF2B5EF4-FFF2-40B4-BE49-F238E27FC236}">
                  <a16:creationId xmlns:a16="http://schemas.microsoft.com/office/drawing/2014/main" id="{F0DB5348-62FA-60C1-CE7F-A5066C5F6F98}"/>
                </a:ext>
              </a:extLst>
            </p:cNvPr>
            <p:cNvSpPr/>
            <p:nvPr/>
          </p:nvSpPr>
          <p:spPr>
            <a:xfrm>
              <a:off x="6362536" y="2400594"/>
              <a:ext cx="840616" cy="419564"/>
            </a:xfrm>
            <a:custGeom>
              <a:avLst/>
              <a:gdLst>
                <a:gd name="connsiteX0" fmla="*/ 579961 w 840616"/>
                <a:gd name="connsiteY0" fmla="*/ 317826 h 419564"/>
                <a:gd name="connsiteX1" fmla="*/ 488622 w 840616"/>
                <a:gd name="connsiteY1" fmla="*/ 272531 h 419564"/>
                <a:gd name="connsiteX2" fmla="*/ 308914 w 840616"/>
                <a:gd name="connsiteY2" fmla="*/ 176735 h 419564"/>
                <a:gd name="connsiteX3" fmla="*/ 132177 w 840616"/>
                <a:gd name="connsiteY3" fmla="*/ 77225 h 419564"/>
                <a:gd name="connsiteX4" fmla="*/ 0 w 840616"/>
                <a:gd name="connsiteY4" fmla="*/ 0 h 419564"/>
                <a:gd name="connsiteX5" fmla="*/ 465603 w 840616"/>
                <a:gd name="connsiteY5" fmla="*/ 266589 h 419564"/>
                <a:gd name="connsiteX6" fmla="*/ 840617 w 840616"/>
                <a:gd name="connsiteY6" fmla="*/ 419564 h 419564"/>
                <a:gd name="connsiteX7" fmla="*/ 673529 w 840616"/>
                <a:gd name="connsiteY7" fmla="*/ 358671 h 419564"/>
                <a:gd name="connsiteX8" fmla="*/ 579961 w 840616"/>
                <a:gd name="connsiteY8" fmla="*/ 317826 h 41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0616" h="419564">
                  <a:moveTo>
                    <a:pt x="579961" y="317826"/>
                  </a:moveTo>
                  <a:cubicBezTo>
                    <a:pt x="549515" y="302978"/>
                    <a:pt x="519068" y="288130"/>
                    <a:pt x="488622" y="272531"/>
                  </a:cubicBezTo>
                  <a:cubicBezTo>
                    <a:pt x="428471" y="242085"/>
                    <a:pt x="368321" y="209410"/>
                    <a:pt x="308914" y="176735"/>
                  </a:cubicBezTo>
                  <a:cubicBezTo>
                    <a:pt x="249506" y="144060"/>
                    <a:pt x="190842" y="110643"/>
                    <a:pt x="132177" y="77225"/>
                  </a:cubicBezTo>
                  <a:cubicBezTo>
                    <a:pt x="87626" y="51978"/>
                    <a:pt x="43809" y="25988"/>
                    <a:pt x="0" y="0"/>
                  </a:cubicBezTo>
                  <a:cubicBezTo>
                    <a:pt x="250992" y="149260"/>
                    <a:pt x="435156" y="255447"/>
                    <a:pt x="465603" y="266589"/>
                  </a:cubicBezTo>
                  <a:cubicBezTo>
                    <a:pt x="555457" y="300007"/>
                    <a:pt x="680214" y="389860"/>
                    <a:pt x="840617" y="419564"/>
                  </a:cubicBezTo>
                  <a:cubicBezTo>
                    <a:pt x="783430" y="403230"/>
                    <a:pt x="727737" y="381690"/>
                    <a:pt x="673529" y="358671"/>
                  </a:cubicBezTo>
                  <a:cubicBezTo>
                    <a:pt x="641597" y="346044"/>
                    <a:pt x="611150" y="332681"/>
                    <a:pt x="579961" y="317826"/>
                  </a:cubicBezTo>
                  <a:close/>
                </a:path>
              </a:pathLst>
            </a:custGeom>
            <a:solidFill>
              <a:srgbClr val="1E98F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ihåndsform: figur 8">
              <a:extLst>
                <a:ext uri="{FF2B5EF4-FFF2-40B4-BE49-F238E27FC236}">
                  <a16:creationId xmlns:a16="http://schemas.microsoft.com/office/drawing/2014/main" id="{B9835E9F-3FA2-66CF-41FC-DE2D39220B0E}"/>
                </a:ext>
              </a:extLst>
            </p:cNvPr>
            <p:cNvSpPr/>
            <p:nvPr/>
          </p:nvSpPr>
          <p:spPr>
            <a:xfrm>
              <a:off x="7994965" y="3536753"/>
              <a:ext cx="3126095" cy="2323572"/>
            </a:xfrm>
            <a:custGeom>
              <a:avLst/>
              <a:gdLst>
                <a:gd name="connsiteX0" fmla="*/ 2539450 w 3126095"/>
                <a:gd name="connsiteY0" fmla="*/ 2091135 h 2323572"/>
                <a:gd name="connsiteX1" fmla="*/ 2522374 w 3126095"/>
                <a:gd name="connsiteY1" fmla="*/ 1854256 h 2323572"/>
                <a:gd name="connsiteX2" fmla="*/ 2807526 w 3126095"/>
                <a:gd name="connsiteY2" fmla="*/ 1840886 h 2323572"/>
                <a:gd name="connsiteX3" fmla="*/ 2901836 w 3126095"/>
                <a:gd name="connsiteY3" fmla="*/ 2013166 h 2323572"/>
                <a:gd name="connsiteX4" fmla="*/ 3126096 w 3126095"/>
                <a:gd name="connsiteY4" fmla="*/ 1958215 h 2323572"/>
                <a:gd name="connsiteX5" fmla="*/ 3031785 w 3126095"/>
                <a:gd name="connsiteY5" fmla="*/ 1573553 h 2323572"/>
                <a:gd name="connsiteX6" fmla="*/ 2951588 w 3126095"/>
                <a:gd name="connsiteY6" fmla="*/ 1609941 h 2323572"/>
                <a:gd name="connsiteX7" fmla="*/ 2904065 w 3126095"/>
                <a:gd name="connsiteY7" fmla="*/ 1627018 h 2323572"/>
                <a:gd name="connsiteX8" fmla="*/ 2854306 w 3126095"/>
                <a:gd name="connsiteY8" fmla="*/ 1638903 h 2323572"/>
                <a:gd name="connsiteX9" fmla="*/ 2802327 w 3126095"/>
                <a:gd name="connsiteY9" fmla="*/ 1643352 h 2323572"/>
                <a:gd name="connsiteX10" fmla="*/ 2750347 w 3126095"/>
                <a:gd name="connsiteY10" fmla="*/ 1632960 h 2323572"/>
                <a:gd name="connsiteX11" fmla="*/ 2663464 w 3126095"/>
                <a:gd name="connsiteY11" fmla="*/ 1575781 h 2323572"/>
                <a:gd name="connsiteX12" fmla="*/ 2638960 w 3126095"/>
                <a:gd name="connsiteY12" fmla="*/ 1527516 h 2323572"/>
                <a:gd name="connsiteX13" fmla="*/ 2639695 w 3126095"/>
                <a:gd name="connsiteY13" fmla="*/ 1498547 h 2323572"/>
                <a:gd name="connsiteX14" fmla="*/ 2653065 w 3126095"/>
                <a:gd name="connsiteY14" fmla="*/ 1472557 h 2323572"/>
                <a:gd name="connsiteX15" fmla="*/ 2673856 w 3126095"/>
                <a:gd name="connsiteY15" fmla="*/ 1453995 h 2323572"/>
                <a:gd name="connsiteX16" fmla="*/ 2695396 w 3126095"/>
                <a:gd name="connsiteY16" fmla="*/ 1440625 h 2323572"/>
                <a:gd name="connsiteX17" fmla="*/ 2737720 w 3126095"/>
                <a:gd name="connsiteY17" fmla="*/ 1413150 h 2323572"/>
                <a:gd name="connsiteX18" fmla="*/ 2821631 w 3126095"/>
                <a:gd name="connsiteY18" fmla="*/ 1358207 h 2323572"/>
                <a:gd name="connsiteX19" fmla="*/ 2959015 w 3126095"/>
                <a:gd name="connsiteY19" fmla="*/ 1271317 h 2323572"/>
                <a:gd name="connsiteX20" fmla="*/ 2762967 w 3126095"/>
                <a:gd name="connsiteY20" fmla="*/ 467831 h 2323572"/>
                <a:gd name="connsiteX21" fmla="*/ 1713689 w 3126095"/>
                <a:gd name="connsiteY21" fmla="*/ 724030 h 2323572"/>
                <a:gd name="connsiteX22" fmla="*/ 887928 w 3126095"/>
                <a:gd name="connsiteY22" fmla="*/ 0 h 2323572"/>
                <a:gd name="connsiteX23" fmla="*/ 875300 w 3126095"/>
                <a:gd name="connsiteY23" fmla="*/ 0 h 2323572"/>
                <a:gd name="connsiteX24" fmla="*/ 816636 w 3126095"/>
                <a:gd name="connsiteY24" fmla="*/ 743 h 2323572"/>
                <a:gd name="connsiteX25" fmla="*/ 584206 w 3126095"/>
                <a:gd name="connsiteY25" fmla="*/ 45295 h 2323572"/>
                <a:gd name="connsiteX26" fmla="*/ 505493 w 3126095"/>
                <a:gd name="connsiteY26" fmla="*/ 76484 h 2323572"/>
                <a:gd name="connsiteX27" fmla="*/ 470590 w 3126095"/>
                <a:gd name="connsiteY27" fmla="*/ 93568 h 2323572"/>
                <a:gd name="connsiteX28" fmla="*/ 486924 w 3126095"/>
                <a:gd name="connsiteY28" fmla="*/ 106188 h 2323572"/>
                <a:gd name="connsiteX29" fmla="*/ 506979 w 3126095"/>
                <a:gd name="connsiteY29" fmla="*/ 119557 h 2323572"/>
                <a:gd name="connsiteX30" fmla="*/ 547817 w 3126095"/>
                <a:gd name="connsiteY30" fmla="*/ 147033 h 2323572"/>
                <a:gd name="connsiteX31" fmla="*/ 628022 w 3126095"/>
                <a:gd name="connsiteY31" fmla="*/ 205698 h 2323572"/>
                <a:gd name="connsiteX32" fmla="*/ 703763 w 3126095"/>
                <a:gd name="connsiteY32" fmla="*/ 269562 h 2323572"/>
                <a:gd name="connsiteX33" fmla="*/ 772084 w 3126095"/>
                <a:gd name="connsiteY33" fmla="*/ 342332 h 2323572"/>
                <a:gd name="connsiteX34" fmla="*/ 799559 w 3126095"/>
                <a:gd name="connsiteY34" fmla="*/ 385405 h 2323572"/>
                <a:gd name="connsiteX35" fmla="*/ 813665 w 3126095"/>
                <a:gd name="connsiteY35" fmla="*/ 436642 h 2323572"/>
                <a:gd name="connsiteX36" fmla="*/ 812922 w 3126095"/>
                <a:gd name="connsiteY36" fmla="*/ 450755 h 2323572"/>
                <a:gd name="connsiteX37" fmla="*/ 809951 w 3126095"/>
                <a:gd name="connsiteY37" fmla="*/ 463382 h 2323572"/>
                <a:gd name="connsiteX38" fmla="*/ 806987 w 3126095"/>
                <a:gd name="connsiteY38" fmla="*/ 476002 h 2323572"/>
                <a:gd name="connsiteX39" fmla="*/ 803273 w 3126095"/>
                <a:gd name="connsiteY39" fmla="*/ 488622 h 2323572"/>
                <a:gd name="connsiteX40" fmla="*/ 779504 w 3126095"/>
                <a:gd name="connsiteY40" fmla="*/ 534667 h 2323572"/>
                <a:gd name="connsiteX41" fmla="*/ 691136 w 3126095"/>
                <a:gd name="connsiteY41" fmla="*/ 587389 h 2323572"/>
                <a:gd name="connsiteX42" fmla="*/ 590148 w 3126095"/>
                <a:gd name="connsiteY42" fmla="*/ 573283 h 2323572"/>
                <a:gd name="connsiteX43" fmla="*/ 499551 w 3126095"/>
                <a:gd name="connsiteY43" fmla="*/ 530953 h 2323572"/>
                <a:gd name="connsiteX44" fmla="*/ 412668 w 3126095"/>
                <a:gd name="connsiteY44" fmla="*/ 484172 h 2323572"/>
                <a:gd name="connsiteX45" fmla="*/ 241131 w 3126095"/>
                <a:gd name="connsiteY45" fmla="*/ 386148 h 2323572"/>
                <a:gd name="connsiteX46" fmla="*/ 171325 w 3126095"/>
                <a:gd name="connsiteY46" fmla="*/ 346045 h 2323572"/>
                <a:gd name="connsiteX47" fmla="*/ 120088 w 3126095"/>
                <a:gd name="connsiteY47" fmla="*/ 423280 h 2323572"/>
                <a:gd name="connsiteX48" fmla="*/ 7951 w 3126095"/>
                <a:gd name="connsiteY48" fmla="*/ 744078 h 2323572"/>
                <a:gd name="connsiteX49" fmla="*/ 1273 w 3126095"/>
                <a:gd name="connsiteY49" fmla="*/ 907452 h 2323572"/>
                <a:gd name="connsiteX50" fmla="*/ 907232 w 3126095"/>
                <a:gd name="connsiteY50" fmla="*/ 1721328 h 2323572"/>
                <a:gd name="connsiteX51" fmla="*/ 1433728 w 3126095"/>
                <a:gd name="connsiteY51" fmla="*/ 1504489 h 2323572"/>
                <a:gd name="connsiteX52" fmla="*/ 1633484 w 3126095"/>
                <a:gd name="connsiteY52" fmla="*/ 2323573 h 2323572"/>
                <a:gd name="connsiteX53" fmla="*/ 2538707 w 3126095"/>
                <a:gd name="connsiteY53" fmla="*/ 2102277 h 2323572"/>
                <a:gd name="connsiteX54" fmla="*/ 2537221 w 3126095"/>
                <a:gd name="connsiteY54" fmla="*/ 2090393 h 2323572"/>
                <a:gd name="connsiteX55" fmla="*/ 2539450 w 3126095"/>
                <a:gd name="connsiteY55" fmla="*/ 2091135 h 232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26095" h="2323572">
                  <a:moveTo>
                    <a:pt x="2539450" y="2091135"/>
                  </a:moveTo>
                  <a:cubicBezTo>
                    <a:pt x="2529051" y="1996082"/>
                    <a:pt x="2527565" y="1909207"/>
                    <a:pt x="2522374" y="1854256"/>
                  </a:cubicBezTo>
                  <a:cubicBezTo>
                    <a:pt x="2509746" y="1707223"/>
                    <a:pt x="2711730" y="1728013"/>
                    <a:pt x="2807526" y="1840886"/>
                  </a:cubicBezTo>
                  <a:cubicBezTo>
                    <a:pt x="2849850" y="1890645"/>
                    <a:pt x="2880296" y="1954502"/>
                    <a:pt x="2901836" y="2013166"/>
                  </a:cubicBezTo>
                  <a:lnTo>
                    <a:pt x="3126096" y="1958215"/>
                  </a:lnTo>
                  <a:lnTo>
                    <a:pt x="3031785" y="1573553"/>
                  </a:lnTo>
                  <a:cubicBezTo>
                    <a:pt x="3005796" y="1586180"/>
                    <a:pt x="2979063" y="1598800"/>
                    <a:pt x="2951588" y="1609941"/>
                  </a:cubicBezTo>
                  <a:cubicBezTo>
                    <a:pt x="2935990" y="1616619"/>
                    <a:pt x="2920399" y="1622561"/>
                    <a:pt x="2904065" y="1627018"/>
                  </a:cubicBezTo>
                  <a:cubicBezTo>
                    <a:pt x="2887724" y="1631475"/>
                    <a:pt x="2871390" y="1635931"/>
                    <a:pt x="2854306" y="1638903"/>
                  </a:cubicBezTo>
                  <a:cubicBezTo>
                    <a:pt x="2837230" y="1641874"/>
                    <a:pt x="2820153" y="1644095"/>
                    <a:pt x="2802327" y="1643352"/>
                  </a:cubicBezTo>
                  <a:cubicBezTo>
                    <a:pt x="2783764" y="1642609"/>
                    <a:pt x="2767423" y="1638160"/>
                    <a:pt x="2750347" y="1632960"/>
                  </a:cubicBezTo>
                  <a:cubicBezTo>
                    <a:pt x="2717672" y="1621826"/>
                    <a:pt x="2686483" y="1603257"/>
                    <a:pt x="2663464" y="1575781"/>
                  </a:cubicBezTo>
                  <a:cubicBezTo>
                    <a:pt x="2652323" y="1562419"/>
                    <a:pt x="2642674" y="1546077"/>
                    <a:pt x="2638960" y="1527516"/>
                  </a:cubicBezTo>
                  <a:cubicBezTo>
                    <a:pt x="2637474" y="1517859"/>
                    <a:pt x="2637474" y="1508203"/>
                    <a:pt x="2639695" y="1498547"/>
                  </a:cubicBezTo>
                  <a:cubicBezTo>
                    <a:pt x="2641924" y="1488898"/>
                    <a:pt x="2647123" y="1479985"/>
                    <a:pt x="2653065" y="1472557"/>
                  </a:cubicBezTo>
                  <a:cubicBezTo>
                    <a:pt x="2659008" y="1465129"/>
                    <a:pt x="2666436" y="1459195"/>
                    <a:pt x="2673856" y="1453995"/>
                  </a:cubicBezTo>
                  <a:lnTo>
                    <a:pt x="2695396" y="1440625"/>
                  </a:lnTo>
                  <a:lnTo>
                    <a:pt x="2737720" y="1413150"/>
                  </a:lnTo>
                  <a:lnTo>
                    <a:pt x="2821631" y="1358207"/>
                  </a:lnTo>
                  <a:cubicBezTo>
                    <a:pt x="2866933" y="1328503"/>
                    <a:pt x="2912228" y="1299535"/>
                    <a:pt x="2959015" y="1271317"/>
                  </a:cubicBezTo>
                  <a:lnTo>
                    <a:pt x="2762967" y="467831"/>
                  </a:lnTo>
                  <a:lnTo>
                    <a:pt x="1713689" y="724030"/>
                  </a:lnTo>
                  <a:cubicBezTo>
                    <a:pt x="1649082" y="317085"/>
                    <a:pt x="1301551" y="11142"/>
                    <a:pt x="887928" y="0"/>
                  </a:cubicBezTo>
                  <a:cubicBezTo>
                    <a:pt x="884214" y="0"/>
                    <a:pt x="879757" y="0"/>
                    <a:pt x="875300" y="0"/>
                  </a:cubicBezTo>
                  <a:cubicBezTo>
                    <a:pt x="855996" y="0"/>
                    <a:pt x="836683" y="0"/>
                    <a:pt x="816636" y="743"/>
                  </a:cubicBezTo>
                  <a:cubicBezTo>
                    <a:pt x="735695" y="5199"/>
                    <a:pt x="657726" y="20790"/>
                    <a:pt x="584206" y="45295"/>
                  </a:cubicBezTo>
                  <a:cubicBezTo>
                    <a:pt x="557473" y="54208"/>
                    <a:pt x="530741" y="64607"/>
                    <a:pt x="505493" y="76484"/>
                  </a:cubicBezTo>
                  <a:cubicBezTo>
                    <a:pt x="493609" y="81683"/>
                    <a:pt x="482467" y="87626"/>
                    <a:pt x="470590" y="93568"/>
                  </a:cubicBezTo>
                  <a:cubicBezTo>
                    <a:pt x="476533" y="98017"/>
                    <a:pt x="481725" y="102474"/>
                    <a:pt x="486924" y="106188"/>
                  </a:cubicBezTo>
                  <a:cubicBezTo>
                    <a:pt x="492866" y="110644"/>
                    <a:pt x="500294" y="115101"/>
                    <a:pt x="506979" y="119557"/>
                  </a:cubicBezTo>
                  <a:cubicBezTo>
                    <a:pt x="521084" y="128463"/>
                    <a:pt x="534455" y="138119"/>
                    <a:pt x="547817" y="147033"/>
                  </a:cubicBezTo>
                  <a:cubicBezTo>
                    <a:pt x="575292" y="165595"/>
                    <a:pt x="602025" y="184907"/>
                    <a:pt x="628022" y="205698"/>
                  </a:cubicBezTo>
                  <a:cubicBezTo>
                    <a:pt x="654012" y="225752"/>
                    <a:pt x="680002" y="247286"/>
                    <a:pt x="703763" y="269562"/>
                  </a:cubicBezTo>
                  <a:cubicBezTo>
                    <a:pt x="728267" y="291837"/>
                    <a:pt x="751286" y="315599"/>
                    <a:pt x="772084" y="342332"/>
                  </a:cubicBezTo>
                  <a:cubicBezTo>
                    <a:pt x="782475" y="355701"/>
                    <a:pt x="792131" y="369814"/>
                    <a:pt x="799559" y="385405"/>
                  </a:cubicBezTo>
                  <a:cubicBezTo>
                    <a:pt x="806987" y="401003"/>
                    <a:pt x="813665" y="418080"/>
                    <a:pt x="813665" y="436642"/>
                  </a:cubicBezTo>
                  <a:cubicBezTo>
                    <a:pt x="813665" y="441099"/>
                    <a:pt x="812922" y="446298"/>
                    <a:pt x="812922" y="450755"/>
                  </a:cubicBezTo>
                  <a:lnTo>
                    <a:pt x="809951" y="463382"/>
                  </a:lnTo>
                  <a:cubicBezTo>
                    <a:pt x="809208" y="467839"/>
                    <a:pt x="807730" y="471545"/>
                    <a:pt x="806987" y="476002"/>
                  </a:cubicBezTo>
                  <a:cubicBezTo>
                    <a:pt x="805502" y="480451"/>
                    <a:pt x="804759" y="484172"/>
                    <a:pt x="803273" y="488622"/>
                  </a:cubicBezTo>
                  <a:cubicBezTo>
                    <a:pt x="798074" y="504963"/>
                    <a:pt x="789903" y="520561"/>
                    <a:pt x="779504" y="534667"/>
                  </a:cubicBezTo>
                  <a:cubicBezTo>
                    <a:pt x="759457" y="563627"/>
                    <a:pt x="726039" y="583675"/>
                    <a:pt x="691136" y="587389"/>
                  </a:cubicBezTo>
                  <a:cubicBezTo>
                    <a:pt x="656240" y="591846"/>
                    <a:pt x="622080" y="584425"/>
                    <a:pt x="590148" y="573283"/>
                  </a:cubicBezTo>
                  <a:cubicBezTo>
                    <a:pt x="558216" y="561399"/>
                    <a:pt x="529255" y="546551"/>
                    <a:pt x="499551" y="530953"/>
                  </a:cubicBezTo>
                  <a:cubicBezTo>
                    <a:pt x="470590" y="515362"/>
                    <a:pt x="441629" y="499763"/>
                    <a:pt x="412668" y="484172"/>
                  </a:cubicBezTo>
                  <a:cubicBezTo>
                    <a:pt x="354747" y="452240"/>
                    <a:pt x="298310" y="419566"/>
                    <a:pt x="241131" y="386148"/>
                  </a:cubicBezTo>
                  <a:lnTo>
                    <a:pt x="171325" y="346045"/>
                  </a:lnTo>
                  <a:cubicBezTo>
                    <a:pt x="152763" y="370550"/>
                    <a:pt x="135679" y="396547"/>
                    <a:pt x="120088" y="423280"/>
                  </a:cubicBezTo>
                  <a:cubicBezTo>
                    <a:pt x="62909" y="519818"/>
                    <a:pt x="23549" y="628977"/>
                    <a:pt x="7951" y="744078"/>
                  </a:cubicBezTo>
                  <a:cubicBezTo>
                    <a:pt x="531" y="797543"/>
                    <a:pt x="-1698" y="851758"/>
                    <a:pt x="1273" y="907452"/>
                  </a:cubicBezTo>
                  <a:cubicBezTo>
                    <a:pt x="26520" y="1382711"/>
                    <a:pt x="431973" y="1746576"/>
                    <a:pt x="907232" y="1721328"/>
                  </a:cubicBezTo>
                  <a:cubicBezTo>
                    <a:pt x="1109959" y="1710187"/>
                    <a:pt x="1292638" y="1629989"/>
                    <a:pt x="1433728" y="1504489"/>
                  </a:cubicBezTo>
                  <a:lnTo>
                    <a:pt x="1633484" y="2323573"/>
                  </a:lnTo>
                  <a:lnTo>
                    <a:pt x="2538707" y="2102277"/>
                  </a:lnTo>
                  <a:cubicBezTo>
                    <a:pt x="2537965" y="2098563"/>
                    <a:pt x="2537965" y="2094107"/>
                    <a:pt x="2537221" y="2090393"/>
                  </a:cubicBezTo>
                  <a:cubicBezTo>
                    <a:pt x="2539450" y="2091135"/>
                    <a:pt x="2539450" y="2091135"/>
                    <a:pt x="2539450" y="2091135"/>
                  </a:cubicBezTo>
                  <a:close/>
                </a:path>
              </a:pathLst>
            </a:custGeom>
            <a:solidFill>
              <a:srgbClr val="F05F63"/>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ihåndsform: figur 9">
              <a:extLst>
                <a:ext uri="{FF2B5EF4-FFF2-40B4-BE49-F238E27FC236}">
                  <a16:creationId xmlns:a16="http://schemas.microsoft.com/office/drawing/2014/main" id="{038674E5-91B5-3D7D-CBB9-C97250826081}"/>
                </a:ext>
              </a:extLst>
            </p:cNvPr>
            <p:cNvSpPr/>
            <p:nvPr/>
          </p:nvSpPr>
          <p:spPr>
            <a:xfrm>
              <a:off x="10538136" y="4260816"/>
              <a:ext cx="3523590" cy="3669869"/>
            </a:xfrm>
            <a:custGeom>
              <a:avLst/>
              <a:gdLst>
                <a:gd name="connsiteX0" fmla="*/ 1933711 w 3523590"/>
                <a:gd name="connsiteY0" fmla="*/ 2008691 h 3669869"/>
                <a:gd name="connsiteX1" fmla="*/ 1912921 w 3523590"/>
                <a:gd name="connsiteY1" fmla="*/ 1976759 h 3669869"/>
                <a:gd name="connsiteX2" fmla="*/ 1915884 w 3523590"/>
                <a:gd name="connsiteY2" fmla="*/ 1256443 h 3669869"/>
                <a:gd name="connsiteX3" fmla="*/ 1918113 w 3523590"/>
                <a:gd name="connsiteY3" fmla="*/ 1244559 h 3669869"/>
                <a:gd name="connsiteX4" fmla="*/ 2062917 w 3523590"/>
                <a:gd name="connsiteY4" fmla="*/ 620781 h 3669869"/>
                <a:gd name="connsiteX5" fmla="*/ 1615884 w 3523590"/>
                <a:gd name="connsiteY5" fmla="*/ 51219 h 3669869"/>
                <a:gd name="connsiteX6" fmla="*/ 1436919 w 3523590"/>
                <a:gd name="connsiteY6" fmla="*/ 172997 h 3669869"/>
                <a:gd name="connsiteX7" fmla="*/ 1580981 w 3523590"/>
                <a:gd name="connsiteY7" fmla="*/ 461121 h 3669869"/>
                <a:gd name="connsiteX8" fmla="*/ 1722814 w 3523590"/>
                <a:gd name="connsiteY8" fmla="*/ 654199 h 3669869"/>
                <a:gd name="connsiteX9" fmla="*/ 1727271 w 3523590"/>
                <a:gd name="connsiteY9" fmla="*/ 678710 h 3669869"/>
                <a:gd name="connsiteX10" fmla="*/ 1712415 w 3523590"/>
                <a:gd name="connsiteY10" fmla="*/ 755194 h 3669869"/>
                <a:gd name="connsiteX11" fmla="*/ 1644845 w 3523590"/>
                <a:gd name="connsiteY11" fmla="*/ 760394 h 3669869"/>
                <a:gd name="connsiteX12" fmla="*/ 1494841 w 3523590"/>
                <a:gd name="connsiteY12" fmla="*/ 392065 h 3669869"/>
                <a:gd name="connsiteX13" fmla="*/ 977251 w 3523590"/>
                <a:gd name="connsiteY13" fmla="*/ 72752 h 3669869"/>
                <a:gd name="connsiteX14" fmla="*/ 637148 w 3523590"/>
                <a:gd name="connsiteY14" fmla="*/ 717 h 3669869"/>
                <a:gd name="connsiteX15" fmla="*/ 613386 w 3523590"/>
                <a:gd name="connsiteY15" fmla="*/ 3688 h 3669869"/>
                <a:gd name="connsiteX16" fmla="*/ 592589 w 3523590"/>
                <a:gd name="connsiteY16" fmla="*/ 184139 h 3669869"/>
                <a:gd name="connsiteX17" fmla="*/ 886654 w 3523590"/>
                <a:gd name="connsiteY17" fmla="*/ 350484 h 3669869"/>
                <a:gd name="connsiteX18" fmla="*/ 898539 w 3523590"/>
                <a:gd name="connsiteY18" fmla="*/ 355684 h 3669869"/>
                <a:gd name="connsiteX19" fmla="*/ 1134683 w 3523590"/>
                <a:gd name="connsiteY19" fmla="*/ 510879 h 3669869"/>
                <a:gd name="connsiteX20" fmla="*/ 1148045 w 3523590"/>
                <a:gd name="connsiteY20" fmla="*/ 526478 h 3669869"/>
                <a:gd name="connsiteX21" fmla="*/ 1205974 w 3523590"/>
                <a:gd name="connsiteY21" fmla="*/ 698015 h 3669869"/>
                <a:gd name="connsiteX22" fmla="*/ 1213395 w 3523590"/>
                <a:gd name="connsiteY22" fmla="*/ 705443 h 3669869"/>
                <a:gd name="connsiteX23" fmla="*/ 1383446 w 3523590"/>
                <a:gd name="connsiteY23" fmla="*/ 873266 h 3669869"/>
                <a:gd name="connsiteX24" fmla="*/ 1207453 w 3523590"/>
                <a:gd name="connsiteY24" fmla="*/ 712128 h 3669869"/>
                <a:gd name="connsiteX25" fmla="*/ 1033687 w 3523590"/>
                <a:gd name="connsiteY25" fmla="*/ 551725 h 3669869"/>
                <a:gd name="connsiteX26" fmla="*/ 986164 w 3523590"/>
                <a:gd name="connsiteY26" fmla="*/ 542069 h 3669869"/>
                <a:gd name="connsiteX27" fmla="*/ 937156 w 3523590"/>
                <a:gd name="connsiteY27" fmla="*/ 530935 h 3669869"/>
                <a:gd name="connsiteX28" fmla="*/ 839131 w 3523590"/>
                <a:gd name="connsiteY28" fmla="*/ 510879 h 3669869"/>
                <a:gd name="connsiteX29" fmla="*/ 641604 w 3523590"/>
                <a:gd name="connsiteY29" fmla="*/ 482661 h 3669869"/>
                <a:gd name="connsiteX30" fmla="*/ 593331 w 3523590"/>
                <a:gd name="connsiteY30" fmla="*/ 482661 h 3669869"/>
                <a:gd name="connsiteX31" fmla="*/ 548779 w 3523590"/>
                <a:gd name="connsiteY31" fmla="*/ 496774 h 3669869"/>
                <a:gd name="connsiteX32" fmla="*/ 461154 w 3523590"/>
                <a:gd name="connsiteY32" fmla="*/ 543554 h 3669869"/>
                <a:gd name="connsiteX33" fmla="*/ 291837 w 3523590"/>
                <a:gd name="connsiteY33" fmla="*/ 649749 h 3669869"/>
                <a:gd name="connsiteX34" fmla="*/ 207926 w 3523590"/>
                <a:gd name="connsiteY34" fmla="*/ 704700 h 3669869"/>
                <a:gd name="connsiteX35" fmla="*/ 165602 w 3523590"/>
                <a:gd name="connsiteY35" fmla="*/ 732168 h 3669869"/>
                <a:gd name="connsiteX36" fmla="*/ 144805 w 3523590"/>
                <a:gd name="connsiteY36" fmla="*/ 745545 h 3669869"/>
                <a:gd name="connsiteX37" fmla="*/ 128471 w 3523590"/>
                <a:gd name="connsiteY37" fmla="*/ 760394 h 3669869"/>
                <a:gd name="connsiteX38" fmla="*/ 118072 w 3523590"/>
                <a:gd name="connsiteY38" fmla="*/ 799753 h 3669869"/>
                <a:gd name="connsiteX39" fmla="*/ 138870 w 3523590"/>
                <a:gd name="connsiteY39" fmla="*/ 839848 h 3669869"/>
                <a:gd name="connsiteX40" fmla="*/ 217582 w 3523590"/>
                <a:gd name="connsiteY40" fmla="*/ 891085 h 3669869"/>
                <a:gd name="connsiteX41" fmla="*/ 263620 w 3523590"/>
                <a:gd name="connsiteY41" fmla="*/ 900741 h 3669869"/>
                <a:gd name="connsiteX42" fmla="*/ 311150 w 3523590"/>
                <a:gd name="connsiteY42" fmla="*/ 896285 h 3669869"/>
                <a:gd name="connsiteX43" fmla="*/ 406203 w 3523590"/>
                <a:gd name="connsiteY43" fmla="*/ 870295 h 3669869"/>
                <a:gd name="connsiteX44" fmla="*/ 591845 w 3523590"/>
                <a:gd name="connsiteY44" fmla="*/ 795289 h 3669869"/>
                <a:gd name="connsiteX45" fmla="*/ 617835 w 3523590"/>
                <a:gd name="connsiteY45" fmla="*/ 792325 h 3669869"/>
                <a:gd name="connsiteX46" fmla="*/ 848780 w 3523590"/>
                <a:gd name="connsiteY46" fmla="*/ 857668 h 3669869"/>
                <a:gd name="connsiteX47" fmla="*/ 868092 w 3523590"/>
                <a:gd name="connsiteY47" fmla="*/ 871781 h 3669869"/>
                <a:gd name="connsiteX48" fmla="*/ 1005469 w 3523590"/>
                <a:gd name="connsiteY48" fmla="*/ 1073764 h 3669869"/>
                <a:gd name="connsiteX49" fmla="*/ 1055970 w 3523590"/>
                <a:gd name="connsiteY49" fmla="*/ 1523776 h 3669869"/>
                <a:gd name="connsiteX50" fmla="*/ 646796 w 3523590"/>
                <a:gd name="connsiteY50" fmla="*/ 1641105 h 3669869"/>
                <a:gd name="connsiteX51" fmla="*/ 415852 w 3523590"/>
                <a:gd name="connsiteY51" fmla="*/ 1466597 h 3669869"/>
                <a:gd name="connsiteX52" fmla="*/ 403232 w 3523590"/>
                <a:gd name="connsiteY52" fmla="*/ 1445057 h 3669869"/>
                <a:gd name="connsiteX53" fmla="*/ 360901 w 3523590"/>
                <a:gd name="connsiteY53" fmla="*/ 1288375 h 3669869"/>
                <a:gd name="connsiteX54" fmla="*/ 0 w 3523590"/>
                <a:gd name="connsiteY54" fmla="*/ 1376743 h 3669869"/>
                <a:gd name="connsiteX55" fmla="*/ 22276 w 3523590"/>
                <a:gd name="connsiteY55" fmla="*/ 1500015 h 3669869"/>
                <a:gd name="connsiteX56" fmla="*/ 63121 w 3523590"/>
                <a:gd name="connsiteY56" fmla="*/ 1630707 h 3669869"/>
                <a:gd name="connsiteX57" fmla="*/ 130699 w 3523590"/>
                <a:gd name="connsiteY57" fmla="*/ 1748043 h 3669869"/>
                <a:gd name="connsiteX58" fmla="*/ 177479 w 3523590"/>
                <a:gd name="connsiteY58" fmla="*/ 1796309 h 3669869"/>
                <a:gd name="connsiteX59" fmla="*/ 229466 w 3523590"/>
                <a:gd name="connsiteY59" fmla="*/ 1842346 h 3669869"/>
                <a:gd name="connsiteX60" fmla="*/ 279218 w 3523590"/>
                <a:gd name="connsiteY60" fmla="*/ 1889876 h 3669869"/>
                <a:gd name="connsiteX61" fmla="*/ 328226 w 3523590"/>
                <a:gd name="connsiteY61" fmla="*/ 1938142 h 3669869"/>
                <a:gd name="connsiteX62" fmla="*/ 426250 w 3523590"/>
                <a:gd name="connsiteY62" fmla="*/ 2035416 h 3669869"/>
                <a:gd name="connsiteX63" fmla="*/ 620064 w 3523590"/>
                <a:gd name="connsiteY63" fmla="*/ 2230730 h 3669869"/>
                <a:gd name="connsiteX64" fmla="*/ 1009926 w 3523590"/>
                <a:gd name="connsiteY64" fmla="*/ 2619099 h 3669869"/>
                <a:gd name="connsiteX65" fmla="*/ 1059684 w 3523590"/>
                <a:gd name="connsiteY65" fmla="*/ 2666622 h 3669869"/>
                <a:gd name="connsiteX66" fmla="*/ 1109435 w 3523590"/>
                <a:gd name="connsiteY66" fmla="*/ 2713409 h 3669869"/>
                <a:gd name="connsiteX67" fmla="*/ 1213395 w 3523590"/>
                <a:gd name="connsiteY67" fmla="*/ 2801777 h 3669869"/>
                <a:gd name="connsiteX68" fmla="*/ 1431720 w 3523590"/>
                <a:gd name="connsiteY68" fmla="*/ 2968858 h 3669869"/>
                <a:gd name="connsiteX69" fmla="*/ 2310188 w 3523590"/>
                <a:gd name="connsiteY69" fmla="*/ 3631988 h 3669869"/>
                <a:gd name="connsiteX70" fmla="*/ 2360697 w 3523590"/>
                <a:gd name="connsiteY70" fmla="*/ 3669870 h 3669869"/>
                <a:gd name="connsiteX71" fmla="*/ 3523590 w 3523590"/>
                <a:gd name="connsiteY71" fmla="*/ 3669870 h 3669869"/>
                <a:gd name="connsiteX72" fmla="*/ 3523590 w 3523590"/>
                <a:gd name="connsiteY72" fmla="*/ 2730486 h 3669869"/>
                <a:gd name="connsiteX73" fmla="*/ 1933711 w 3523590"/>
                <a:gd name="connsiteY73" fmla="*/ 2008691 h 366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23590" h="3669869">
                  <a:moveTo>
                    <a:pt x="1933711" y="2008691"/>
                  </a:moveTo>
                  <a:cubicBezTo>
                    <a:pt x="1921084" y="2002749"/>
                    <a:pt x="1912921" y="1990122"/>
                    <a:pt x="1912921" y="1976759"/>
                  </a:cubicBezTo>
                  <a:lnTo>
                    <a:pt x="1915884" y="1256443"/>
                  </a:lnTo>
                  <a:cubicBezTo>
                    <a:pt x="1915884" y="1252729"/>
                    <a:pt x="1916628" y="1248273"/>
                    <a:pt x="1918113" y="1244559"/>
                  </a:cubicBezTo>
                  <a:cubicBezTo>
                    <a:pt x="1937425" y="1188865"/>
                    <a:pt x="2095600" y="733653"/>
                    <a:pt x="2062917" y="620781"/>
                  </a:cubicBezTo>
                  <a:cubicBezTo>
                    <a:pt x="2028022" y="500481"/>
                    <a:pt x="1639645" y="78694"/>
                    <a:pt x="1615884" y="51219"/>
                  </a:cubicBezTo>
                  <a:cubicBezTo>
                    <a:pt x="1572068" y="725"/>
                    <a:pt x="1436176" y="88343"/>
                    <a:pt x="1436919" y="172997"/>
                  </a:cubicBezTo>
                  <a:cubicBezTo>
                    <a:pt x="1437662" y="257659"/>
                    <a:pt x="1503004" y="383151"/>
                    <a:pt x="1580981" y="461121"/>
                  </a:cubicBezTo>
                  <a:cubicBezTo>
                    <a:pt x="1644102" y="524985"/>
                    <a:pt x="1702766" y="620781"/>
                    <a:pt x="1722814" y="654199"/>
                  </a:cubicBezTo>
                  <a:cubicBezTo>
                    <a:pt x="1727271" y="661626"/>
                    <a:pt x="1728756" y="670540"/>
                    <a:pt x="1727271" y="678710"/>
                  </a:cubicBezTo>
                  <a:lnTo>
                    <a:pt x="1712415" y="755194"/>
                  </a:lnTo>
                  <a:cubicBezTo>
                    <a:pt x="1705738" y="790097"/>
                    <a:pt x="1656722" y="793811"/>
                    <a:pt x="1644845" y="760394"/>
                  </a:cubicBezTo>
                  <a:cubicBezTo>
                    <a:pt x="1598800" y="631930"/>
                    <a:pt x="1503746" y="421026"/>
                    <a:pt x="1494841" y="392065"/>
                  </a:cubicBezTo>
                  <a:cubicBezTo>
                    <a:pt x="1479985" y="347513"/>
                    <a:pt x="1034430" y="82401"/>
                    <a:pt x="977251" y="72752"/>
                  </a:cubicBezTo>
                  <a:cubicBezTo>
                    <a:pt x="926757" y="64581"/>
                    <a:pt x="692098" y="13344"/>
                    <a:pt x="637148" y="717"/>
                  </a:cubicBezTo>
                  <a:cubicBezTo>
                    <a:pt x="628977" y="-768"/>
                    <a:pt x="620806" y="-25"/>
                    <a:pt x="613386" y="3688"/>
                  </a:cubicBezTo>
                  <a:cubicBezTo>
                    <a:pt x="581454" y="20772"/>
                    <a:pt x="502734" y="77208"/>
                    <a:pt x="592589" y="184139"/>
                  </a:cubicBezTo>
                  <a:cubicBezTo>
                    <a:pt x="691356" y="301468"/>
                    <a:pt x="853237" y="342313"/>
                    <a:pt x="886654" y="350484"/>
                  </a:cubicBezTo>
                  <a:cubicBezTo>
                    <a:pt x="891111" y="351227"/>
                    <a:pt x="894825" y="353455"/>
                    <a:pt x="898539" y="355684"/>
                  </a:cubicBezTo>
                  <a:lnTo>
                    <a:pt x="1134683" y="510879"/>
                  </a:lnTo>
                  <a:cubicBezTo>
                    <a:pt x="1140625" y="514593"/>
                    <a:pt x="1145081" y="520535"/>
                    <a:pt x="1148045" y="526478"/>
                  </a:cubicBezTo>
                  <a:cubicBezTo>
                    <a:pt x="1159187" y="552468"/>
                    <a:pt x="1192604" y="656427"/>
                    <a:pt x="1205974" y="698015"/>
                  </a:cubicBezTo>
                  <a:lnTo>
                    <a:pt x="1213395" y="705443"/>
                  </a:lnTo>
                  <a:lnTo>
                    <a:pt x="1383446" y="873266"/>
                  </a:lnTo>
                  <a:lnTo>
                    <a:pt x="1207453" y="712128"/>
                  </a:lnTo>
                  <a:lnTo>
                    <a:pt x="1033687" y="551725"/>
                  </a:lnTo>
                  <a:cubicBezTo>
                    <a:pt x="1018096" y="548754"/>
                    <a:pt x="1001755" y="545783"/>
                    <a:pt x="986164" y="542069"/>
                  </a:cubicBezTo>
                  <a:cubicBezTo>
                    <a:pt x="969823" y="538355"/>
                    <a:pt x="953489" y="534641"/>
                    <a:pt x="937156" y="530935"/>
                  </a:cubicBezTo>
                  <a:cubicBezTo>
                    <a:pt x="904481" y="524249"/>
                    <a:pt x="871806" y="517564"/>
                    <a:pt x="839131" y="510879"/>
                  </a:cubicBezTo>
                  <a:cubicBezTo>
                    <a:pt x="773782" y="498995"/>
                    <a:pt x="707689" y="487118"/>
                    <a:pt x="641604" y="482661"/>
                  </a:cubicBezTo>
                  <a:cubicBezTo>
                    <a:pt x="625263" y="481919"/>
                    <a:pt x="608929" y="481176"/>
                    <a:pt x="593331" y="482661"/>
                  </a:cubicBezTo>
                  <a:cubicBezTo>
                    <a:pt x="578483" y="484147"/>
                    <a:pt x="563627" y="490089"/>
                    <a:pt x="548779" y="496774"/>
                  </a:cubicBezTo>
                  <a:cubicBezTo>
                    <a:pt x="519076" y="510144"/>
                    <a:pt x="490115" y="526478"/>
                    <a:pt x="461154" y="543554"/>
                  </a:cubicBezTo>
                  <a:cubicBezTo>
                    <a:pt x="403975" y="576972"/>
                    <a:pt x="347531" y="613361"/>
                    <a:pt x="291837" y="649749"/>
                  </a:cubicBezTo>
                  <a:lnTo>
                    <a:pt x="207926" y="704700"/>
                  </a:lnTo>
                  <a:lnTo>
                    <a:pt x="165602" y="732168"/>
                  </a:lnTo>
                  <a:lnTo>
                    <a:pt x="144805" y="745545"/>
                  </a:lnTo>
                  <a:cubicBezTo>
                    <a:pt x="138862" y="750002"/>
                    <a:pt x="132928" y="755194"/>
                    <a:pt x="128471" y="760394"/>
                  </a:cubicBezTo>
                  <a:cubicBezTo>
                    <a:pt x="119558" y="771535"/>
                    <a:pt x="115844" y="785640"/>
                    <a:pt x="118072" y="799753"/>
                  </a:cubicBezTo>
                  <a:cubicBezTo>
                    <a:pt x="120300" y="813859"/>
                    <a:pt x="128471" y="827964"/>
                    <a:pt x="138870" y="839848"/>
                  </a:cubicBezTo>
                  <a:cubicBezTo>
                    <a:pt x="158918" y="863610"/>
                    <a:pt x="187878" y="880694"/>
                    <a:pt x="217582" y="891085"/>
                  </a:cubicBezTo>
                  <a:cubicBezTo>
                    <a:pt x="232430" y="896285"/>
                    <a:pt x="248771" y="899999"/>
                    <a:pt x="263620" y="900741"/>
                  </a:cubicBezTo>
                  <a:cubicBezTo>
                    <a:pt x="279218" y="901484"/>
                    <a:pt x="295551" y="899256"/>
                    <a:pt x="311150" y="896285"/>
                  </a:cubicBezTo>
                  <a:cubicBezTo>
                    <a:pt x="343082" y="890350"/>
                    <a:pt x="374271" y="879208"/>
                    <a:pt x="406203" y="870295"/>
                  </a:cubicBezTo>
                  <a:cubicBezTo>
                    <a:pt x="469317" y="850247"/>
                    <a:pt x="530953" y="823507"/>
                    <a:pt x="591845" y="795289"/>
                  </a:cubicBezTo>
                  <a:cubicBezTo>
                    <a:pt x="600016" y="790833"/>
                    <a:pt x="608929" y="790097"/>
                    <a:pt x="617835" y="792325"/>
                  </a:cubicBezTo>
                  <a:lnTo>
                    <a:pt x="848780" y="857668"/>
                  </a:lnTo>
                  <a:cubicBezTo>
                    <a:pt x="856951" y="859896"/>
                    <a:pt x="863635" y="865103"/>
                    <a:pt x="868092" y="871781"/>
                  </a:cubicBezTo>
                  <a:lnTo>
                    <a:pt x="1005469" y="1073764"/>
                  </a:lnTo>
                  <a:cubicBezTo>
                    <a:pt x="1005469" y="1073764"/>
                    <a:pt x="1208938" y="1402733"/>
                    <a:pt x="1055970" y="1523776"/>
                  </a:cubicBezTo>
                  <a:cubicBezTo>
                    <a:pt x="809428" y="1718339"/>
                    <a:pt x="729230" y="1696799"/>
                    <a:pt x="646796" y="1641105"/>
                  </a:cubicBezTo>
                  <a:cubicBezTo>
                    <a:pt x="576998" y="1593582"/>
                    <a:pt x="452983" y="1495558"/>
                    <a:pt x="415852" y="1466597"/>
                  </a:cubicBezTo>
                  <a:cubicBezTo>
                    <a:pt x="409167" y="1461398"/>
                    <a:pt x="404710" y="1453970"/>
                    <a:pt x="403232" y="1445057"/>
                  </a:cubicBezTo>
                  <a:cubicBezTo>
                    <a:pt x="398775" y="1419067"/>
                    <a:pt x="386148" y="1356696"/>
                    <a:pt x="360901" y="1288375"/>
                  </a:cubicBezTo>
                  <a:lnTo>
                    <a:pt x="0" y="1376743"/>
                  </a:lnTo>
                  <a:cubicBezTo>
                    <a:pt x="5942" y="1418331"/>
                    <a:pt x="12627" y="1459912"/>
                    <a:pt x="22276" y="1500015"/>
                  </a:cubicBezTo>
                  <a:cubicBezTo>
                    <a:pt x="32675" y="1544566"/>
                    <a:pt x="45302" y="1588375"/>
                    <a:pt x="63121" y="1630707"/>
                  </a:cubicBezTo>
                  <a:cubicBezTo>
                    <a:pt x="80198" y="1673037"/>
                    <a:pt x="102481" y="1712397"/>
                    <a:pt x="130699" y="1748043"/>
                  </a:cubicBezTo>
                  <a:cubicBezTo>
                    <a:pt x="144805" y="1765862"/>
                    <a:pt x="160403" y="1781461"/>
                    <a:pt x="177479" y="1796309"/>
                  </a:cubicBezTo>
                  <a:cubicBezTo>
                    <a:pt x="194564" y="1811164"/>
                    <a:pt x="213125" y="1826005"/>
                    <a:pt x="229466" y="1842346"/>
                  </a:cubicBezTo>
                  <a:cubicBezTo>
                    <a:pt x="246543" y="1857937"/>
                    <a:pt x="262877" y="1873535"/>
                    <a:pt x="279218" y="1889876"/>
                  </a:cubicBezTo>
                  <a:lnTo>
                    <a:pt x="328226" y="1938142"/>
                  </a:lnTo>
                  <a:cubicBezTo>
                    <a:pt x="360901" y="1970074"/>
                    <a:pt x="393576" y="2002742"/>
                    <a:pt x="426250" y="2035416"/>
                  </a:cubicBezTo>
                  <a:lnTo>
                    <a:pt x="620064" y="2230730"/>
                  </a:lnTo>
                  <a:cubicBezTo>
                    <a:pt x="749277" y="2360679"/>
                    <a:pt x="878484" y="2491378"/>
                    <a:pt x="1009926" y="2619099"/>
                  </a:cubicBezTo>
                  <a:cubicBezTo>
                    <a:pt x="1026259" y="2635440"/>
                    <a:pt x="1042600" y="2651031"/>
                    <a:pt x="1059684" y="2666622"/>
                  </a:cubicBezTo>
                  <a:cubicBezTo>
                    <a:pt x="1076018" y="2682213"/>
                    <a:pt x="1092352" y="2698561"/>
                    <a:pt x="1109435" y="2713409"/>
                  </a:cubicBezTo>
                  <a:cubicBezTo>
                    <a:pt x="1142853" y="2744598"/>
                    <a:pt x="1177013" y="2774302"/>
                    <a:pt x="1213395" y="2801777"/>
                  </a:cubicBezTo>
                  <a:cubicBezTo>
                    <a:pt x="1286172" y="2857471"/>
                    <a:pt x="1358942" y="2913165"/>
                    <a:pt x="1431720" y="2968858"/>
                  </a:cubicBezTo>
                  <a:lnTo>
                    <a:pt x="2310188" y="3631988"/>
                  </a:lnTo>
                  <a:lnTo>
                    <a:pt x="2360697" y="3669870"/>
                  </a:lnTo>
                  <a:lnTo>
                    <a:pt x="3523590" y="3669870"/>
                  </a:lnTo>
                  <a:lnTo>
                    <a:pt x="3523590" y="2730486"/>
                  </a:lnTo>
                  <a:lnTo>
                    <a:pt x="1933711" y="2008691"/>
                  </a:lnTo>
                  <a:close/>
                </a:path>
              </a:pathLst>
            </a:custGeom>
            <a:solidFill>
              <a:srgbClr val="1E2B3C"/>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ihåndsform: figur 10">
              <a:extLst>
                <a:ext uri="{FF2B5EF4-FFF2-40B4-BE49-F238E27FC236}">
                  <a16:creationId xmlns:a16="http://schemas.microsoft.com/office/drawing/2014/main" id="{54B65BCE-10EA-2D63-9241-3711F36670BF}"/>
                </a:ext>
              </a:extLst>
            </p:cNvPr>
            <p:cNvSpPr/>
            <p:nvPr/>
          </p:nvSpPr>
          <p:spPr>
            <a:xfrm>
              <a:off x="10516701" y="5287591"/>
              <a:ext cx="380092" cy="352197"/>
            </a:xfrm>
            <a:custGeom>
              <a:avLst/>
              <a:gdLst>
                <a:gd name="connsiteX0" fmla="*/ 285782 w 380092"/>
                <a:gd name="connsiteY0" fmla="*/ 90806 h 352197"/>
                <a:gd name="connsiteX1" fmla="*/ 630 w 380092"/>
                <a:gd name="connsiteY1" fmla="*/ 104169 h 352197"/>
                <a:gd name="connsiteX2" fmla="*/ 17706 w 380092"/>
                <a:gd name="connsiteY2" fmla="*/ 341056 h 352197"/>
                <a:gd name="connsiteX3" fmla="*/ 19199 w 380092"/>
                <a:gd name="connsiteY3" fmla="*/ 352197 h 352197"/>
                <a:gd name="connsiteX4" fmla="*/ 380093 w 380092"/>
                <a:gd name="connsiteY4" fmla="*/ 263829 h 352197"/>
                <a:gd name="connsiteX5" fmla="*/ 285782 w 380092"/>
                <a:gd name="connsiteY5" fmla="*/ 90806 h 35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092" h="352197">
                  <a:moveTo>
                    <a:pt x="285782" y="90806"/>
                  </a:moveTo>
                  <a:cubicBezTo>
                    <a:pt x="189994" y="-22074"/>
                    <a:pt x="-12733" y="-42864"/>
                    <a:pt x="630" y="104169"/>
                  </a:cubicBezTo>
                  <a:cubicBezTo>
                    <a:pt x="5829" y="159119"/>
                    <a:pt x="7315" y="246009"/>
                    <a:pt x="17706" y="341056"/>
                  </a:cubicBezTo>
                  <a:cubicBezTo>
                    <a:pt x="18449" y="344769"/>
                    <a:pt x="18456" y="348483"/>
                    <a:pt x="19199" y="352197"/>
                  </a:cubicBezTo>
                  <a:lnTo>
                    <a:pt x="380093" y="263829"/>
                  </a:lnTo>
                  <a:cubicBezTo>
                    <a:pt x="358560" y="204421"/>
                    <a:pt x="328113" y="140557"/>
                    <a:pt x="285782" y="90806"/>
                  </a:cubicBezTo>
                  <a:close/>
                </a:path>
              </a:pathLst>
            </a:custGeom>
            <a:solidFill>
              <a:srgbClr val="F05F63"/>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ihåndsform: figur 11">
              <a:extLst>
                <a:ext uri="{FF2B5EF4-FFF2-40B4-BE49-F238E27FC236}">
                  <a16:creationId xmlns:a16="http://schemas.microsoft.com/office/drawing/2014/main" id="{21AEC07F-B210-146B-EEBC-69E123488645}"/>
                </a:ext>
              </a:extLst>
            </p:cNvPr>
            <p:cNvSpPr/>
            <p:nvPr/>
          </p:nvSpPr>
          <p:spPr>
            <a:xfrm>
              <a:off x="10631835" y="4724051"/>
              <a:ext cx="1285282" cy="456955"/>
            </a:xfrm>
            <a:custGeom>
              <a:avLst/>
              <a:gdLst>
                <a:gd name="connsiteX0" fmla="*/ 100106 w 1285282"/>
                <a:gd name="connsiteY0" fmla="*/ 226610 h 456955"/>
                <a:gd name="connsiteX1" fmla="*/ 57783 w 1285282"/>
                <a:gd name="connsiteY1" fmla="*/ 254078 h 456955"/>
                <a:gd name="connsiteX2" fmla="*/ 36243 w 1285282"/>
                <a:gd name="connsiteY2" fmla="*/ 267456 h 456955"/>
                <a:gd name="connsiteX3" fmla="*/ 15452 w 1285282"/>
                <a:gd name="connsiteY3" fmla="*/ 286018 h 456955"/>
                <a:gd name="connsiteX4" fmla="*/ 2090 w 1285282"/>
                <a:gd name="connsiteY4" fmla="*/ 312007 h 456955"/>
                <a:gd name="connsiteX5" fmla="*/ 1339 w 1285282"/>
                <a:gd name="connsiteY5" fmla="*/ 340968 h 456955"/>
                <a:gd name="connsiteX6" fmla="*/ 25851 w 1285282"/>
                <a:gd name="connsiteY6" fmla="*/ 389234 h 456955"/>
                <a:gd name="connsiteX7" fmla="*/ 112734 w 1285282"/>
                <a:gd name="connsiteY7" fmla="*/ 446413 h 456955"/>
                <a:gd name="connsiteX8" fmla="*/ 164713 w 1285282"/>
                <a:gd name="connsiteY8" fmla="*/ 456812 h 456955"/>
                <a:gd name="connsiteX9" fmla="*/ 216693 w 1285282"/>
                <a:gd name="connsiteY9" fmla="*/ 452355 h 456955"/>
                <a:gd name="connsiteX10" fmla="*/ 266444 w 1285282"/>
                <a:gd name="connsiteY10" fmla="*/ 440478 h 456955"/>
                <a:gd name="connsiteX11" fmla="*/ 313975 w 1285282"/>
                <a:gd name="connsiteY11" fmla="*/ 423394 h 456955"/>
                <a:gd name="connsiteX12" fmla="*/ 394172 w 1285282"/>
                <a:gd name="connsiteY12" fmla="*/ 387006 h 456955"/>
                <a:gd name="connsiteX13" fmla="*/ 493682 w 1285282"/>
                <a:gd name="connsiteY13" fmla="*/ 332798 h 456955"/>
                <a:gd name="connsiteX14" fmla="*/ 308033 w 1285282"/>
                <a:gd name="connsiteY14" fmla="*/ 407796 h 456955"/>
                <a:gd name="connsiteX15" fmla="*/ 212979 w 1285282"/>
                <a:gd name="connsiteY15" fmla="*/ 433786 h 456955"/>
                <a:gd name="connsiteX16" fmla="*/ 165456 w 1285282"/>
                <a:gd name="connsiteY16" fmla="*/ 438250 h 456955"/>
                <a:gd name="connsiteX17" fmla="*/ 119419 w 1285282"/>
                <a:gd name="connsiteY17" fmla="*/ 428586 h 456955"/>
                <a:gd name="connsiteX18" fmla="*/ 40699 w 1285282"/>
                <a:gd name="connsiteY18" fmla="*/ 377357 h 456955"/>
                <a:gd name="connsiteX19" fmla="*/ 19909 w 1285282"/>
                <a:gd name="connsiteY19" fmla="*/ 337254 h 456955"/>
                <a:gd name="connsiteX20" fmla="*/ 30308 w 1285282"/>
                <a:gd name="connsiteY20" fmla="*/ 297895 h 456955"/>
                <a:gd name="connsiteX21" fmla="*/ 46641 w 1285282"/>
                <a:gd name="connsiteY21" fmla="*/ 283047 h 456955"/>
                <a:gd name="connsiteX22" fmla="*/ 67432 w 1285282"/>
                <a:gd name="connsiteY22" fmla="*/ 269676 h 456955"/>
                <a:gd name="connsiteX23" fmla="*/ 109763 w 1285282"/>
                <a:gd name="connsiteY23" fmla="*/ 242201 h 456955"/>
                <a:gd name="connsiteX24" fmla="*/ 193675 w 1285282"/>
                <a:gd name="connsiteY24" fmla="*/ 187250 h 456955"/>
                <a:gd name="connsiteX25" fmla="*/ 362983 w 1285282"/>
                <a:gd name="connsiteY25" fmla="*/ 81056 h 456955"/>
                <a:gd name="connsiteX26" fmla="*/ 450609 w 1285282"/>
                <a:gd name="connsiteY26" fmla="*/ 34275 h 456955"/>
                <a:gd name="connsiteX27" fmla="*/ 495168 w 1285282"/>
                <a:gd name="connsiteY27" fmla="*/ 20162 h 456955"/>
                <a:gd name="connsiteX28" fmla="*/ 543433 w 1285282"/>
                <a:gd name="connsiteY28" fmla="*/ 20162 h 456955"/>
                <a:gd name="connsiteX29" fmla="*/ 740968 w 1285282"/>
                <a:gd name="connsiteY29" fmla="*/ 48388 h 456955"/>
                <a:gd name="connsiteX30" fmla="*/ 838985 w 1285282"/>
                <a:gd name="connsiteY30" fmla="*/ 68436 h 456955"/>
                <a:gd name="connsiteX31" fmla="*/ 888001 w 1285282"/>
                <a:gd name="connsiteY31" fmla="*/ 79570 h 456955"/>
                <a:gd name="connsiteX32" fmla="*/ 935524 w 1285282"/>
                <a:gd name="connsiteY32" fmla="*/ 89233 h 456955"/>
                <a:gd name="connsiteX33" fmla="*/ 1109289 w 1285282"/>
                <a:gd name="connsiteY33" fmla="*/ 249629 h 456955"/>
                <a:gd name="connsiteX34" fmla="*/ 1285283 w 1285282"/>
                <a:gd name="connsiteY34" fmla="*/ 410775 h 456955"/>
                <a:gd name="connsiteX35" fmla="*/ 1115232 w 1285282"/>
                <a:gd name="connsiteY35" fmla="*/ 242944 h 456955"/>
                <a:gd name="connsiteX36" fmla="*/ 1107804 w 1285282"/>
                <a:gd name="connsiteY36" fmla="*/ 235516 h 456955"/>
                <a:gd name="connsiteX37" fmla="*/ 944437 w 1285282"/>
                <a:gd name="connsiteY37" fmla="*/ 75121 h 456955"/>
                <a:gd name="connsiteX38" fmla="*/ 942952 w 1285282"/>
                <a:gd name="connsiteY38" fmla="*/ 73635 h 456955"/>
                <a:gd name="connsiteX39" fmla="*/ 940723 w 1285282"/>
                <a:gd name="connsiteY39" fmla="*/ 72892 h 456955"/>
                <a:gd name="connsiteX40" fmla="*/ 891707 w 1285282"/>
                <a:gd name="connsiteY40" fmla="*/ 60265 h 456955"/>
                <a:gd name="connsiteX41" fmla="*/ 842699 w 1285282"/>
                <a:gd name="connsiteY41" fmla="*/ 49866 h 456955"/>
                <a:gd name="connsiteX42" fmla="*/ 743932 w 1285282"/>
                <a:gd name="connsiteY42" fmla="*/ 29826 h 456955"/>
                <a:gd name="connsiteX43" fmla="*/ 644429 w 1285282"/>
                <a:gd name="connsiteY43" fmla="*/ 12735 h 456955"/>
                <a:gd name="connsiteX44" fmla="*/ 544177 w 1285282"/>
                <a:gd name="connsiteY44" fmla="*/ 858 h 456955"/>
                <a:gd name="connsiteX45" fmla="*/ 492197 w 1285282"/>
                <a:gd name="connsiteY45" fmla="*/ 858 h 456955"/>
                <a:gd name="connsiteX46" fmla="*/ 478827 w 1285282"/>
                <a:gd name="connsiteY46" fmla="*/ 3086 h 456955"/>
                <a:gd name="connsiteX47" fmla="*/ 466207 w 1285282"/>
                <a:gd name="connsiteY47" fmla="*/ 6800 h 456955"/>
                <a:gd name="connsiteX48" fmla="*/ 442446 w 1285282"/>
                <a:gd name="connsiteY48" fmla="*/ 16448 h 456955"/>
                <a:gd name="connsiteX49" fmla="*/ 353335 w 1285282"/>
                <a:gd name="connsiteY49" fmla="*/ 63979 h 456955"/>
                <a:gd name="connsiteX50" fmla="*/ 319917 w 1285282"/>
                <a:gd name="connsiteY50" fmla="*/ 84034 h 456955"/>
                <a:gd name="connsiteX51" fmla="*/ 182533 w 1285282"/>
                <a:gd name="connsiteY51" fmla="*/ 170917 h 456955"/>
                <a:gd name="connsiteX52" fmla="*/ 100106 w 1285282"/>
                <a:gd name="connsiteY52" fmla="*/ 226610 h 45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285282" h="456955">
                  <a:moveTo>
                    <a:pt x="100106" y="226610"/>
                  </a:moveTo>
                  <a:lnTo>
                    <a:pt x="57783" y="254078"/>
                  </a:lnTo>
                  <a:lnTo>
                    <a:pt x="36243" y="267456"/>
                  </a:lnTo>
                  <a:cubicBezTo>
                    <a:pt x="28815" y="272647"/>
                    <a:pt x="21394" y="278590"/>
                    <a:pt x="15452" y="286018"/>
                  </a:cubicBezTo>
                  <a:cubicBezTo>
                    <a:pt x="9510" y="293445"/>
                    <a:pt x="5053" y="302351"/>
                    <a:pt x="2090" y="312007"/>
                  </a:cubicBezTo>
                  <a:cubicBezTo>
                    <a:pt x="-139" y="321663"/>
                    <a:pt x="-881" y="331312"/>
                    <a:pt x="1339" y="340968"/>
                  </a:cubicBezTo>
                  <a:cubicBezTo>
                    <a:pt x="5053" y="359530"/>
                    <a:pt x="14710" y="375864"/>
                    <a:pt x="25851" y="389234"/>
                  </a:cubicBezTo>
                  <a:cubicBezTo>
                    <a:pt x="48870" y="415967"/>
                    <a:pt x="80059" y="434536"/>
                    <a:pt x="112734" y="446413"/>
                  </a:cubicBezTo>
                  <a:cubicBezTo>
                    <a:pt x="129068" y="452355"/>
                    <a:pt x="146152" y="456069"/>
                    <a:pt x="164713" y="456812"/>
                  </a:cubicBezTo>
                  <a:cubicBezTo>
                    <a:pt x="182533" y="457555"/>
                    <a:pt x="199617" y="455326"/>
                    <a:pt x="216693" y="452355"/>
                  </a:cubicBezTo>
                  <a:cubicBezTo>
                    <a:pt x="233777" y="449384"/>
                    <a:pt x="250111" y="444927"/>
                    <a:pt x="266444" y="440478"/>
                  </a:cubicBezTo>
                  <a:cubicBezTo>
                    <a:pt x="282786" y="436022"/>
                    <a:pt x="298377" y="430079"/>
                    <a:pt x="313975" y="423394"/>
                  </a:cubicBezTo>
                  <a:cubicBezTo>
                    <a:pt x="341450" y="412260"/>
                    <a:pt x="368182" y="399633"/>
                    <a:pt x="394172" y="387006"/>
                  </a:cubicBezTo>
                  <a:cubicBezTo>
                    <a:pt x="428333" y="369929"/>
                    <a:pt x="461751" y="352110"/>
                    <a:pt x="493682" y="332798"/>
                  </a:cubicBezTo>
                  <a:cubicBezTo>
                    <a:pt x="432789" y="361016"/>
                    <a:pt x="371154" y="387006"/>
                    <a:pt x="308033" y="407796"/>
                  </a:cubicBezTo>
                  <a:cubicBezTo>
                    <a:pt x="276100" y="417452"/>
                    <a:pt x="244911" y="428594"/>
                    <a:pt x="212979" y="433786"/>
                  </a:cubicBezTo>
                  <a:cubicBezTo>
                    <a:pt x="196645" y="436757"/>
                    <a:pt x="181047" y="438993"/>
                    <a:pt x="165456" y="438250"/>
                  </a:cubicBezTo>
                  <a:cubicBezTo>
                    <a:pt x="149865" y="437507"/>
                    <a:pt x="134267" y="433786"/>
                    <a:pt x="119419" y="428586"/>
                  </a:cubicBezTo>
                  <a:cubicBezTo>
                    <a:pt x="88972" y="418195"/>
                    <a:pt x="60747" y="401119"/>
                    <a:pt x="40699" y="377357"/>
                  </a:cubicBezTo>
                  <a:cubicBezTo>
                    <a:pt x="30308" y="365473"/>
                    <a:pt x="22880" y="352103"/>
                    <a:pt x="19909" y="337254"/>
                  </a:cubicBezTo>
                  <a:cubicBezTo>
                    <a:pt x="16938" y="323142"/>
                    <a:pt x="20652" y="309036"/>
                    <a:pt x="30308" y="297895"/>
                  </a:cubicBezTo>
                  <a:cubicBezTo>
                    <a:pt x="34757" y="291952"/>
                    <a:pt x="40699" y="287503"/>
                    <a:pt x="46641" y="283047"/>
                  </a:cubicBezTo>
                  <a:lnTo>
                    <a:pt x="67432" y="269676"/>
                  </a:lnTo>
                  <a:lnTo>
                    <a:pt x="109763" y="242201"/>
                  </a:lnTo>
                  <a:lnTo>
                    <a:pt x="193675" y="187250"/>
                  </a:lnTo>
                  <a:cubicBezTo>
                    <a:pt x="249368" y="150862"/>
                    <a:pt x="305804" y="114473"/>
                    <a:pt x="362983" y="81056"/>
                  </a:cubicBezTo>
                  <a:cubicBezTo>
                    <a:pt x="391944" y="63979"/>
                    <a:pt x="420905" y="47645"/>
                    <a:pt x="450609" y="34275"/>
                  </a:cubicBezTo>
                  <a:cubicBezTo>
                    <a:pt x="465464" y="27590"/>
                    <a:pt x="480312" y="20905"/>
                    <a:pt x="495168" y="20162"/>
                  </a:cubicBezTo>
                  <a:cubicBezTo>
                    <a:pt x="510759" y="18677"/>
                    <a:pt x="527100" y="19420"/>
                    <a:pt x="543433" y="20162"/>
                  </a:cubicBezTo>
                  <a:cubicBezTo>
                    <a:pt x="609526" y="24619"/>
                    <a:pt x="675618" y="36504"/>
                    <a:pt x="740968" y="48388"/>
                  </a:cubicBezTo>
                  <a:cubicBezTo>
                    <a:pt x="773635" y="54330"/>
                    <a:pt x="806310" y="61008"/>
                    <a:pt x="838985" y="68436"/>
                  </a:cubicBezTo>
                  <a:cubicBezTo>
                    <a:pt x="855326" y="72142"/>
                    <a:pt x="871660" y="75113"/>
                    <a:pt x="888001" y="79570"/>
                  </a:cubicBezTo>
                  <a:cubicBezTo>
                    <a:pt x="903592" y="83284"/>
                    <a:pt x="919183" y="86262"/>
                    <a:pt x="935524" y="89233"/>
                  </a:cubicBezTo>
                  <a:lnTo>
                    <a:pt x="1109289" y="249629"/>
                  </a:lnTo>
                  <a:lnTo>
                    <a:pt x="1285283" y="410775"/>
                  </a:lnTo>
                  <a:lnTo>
                    <a:pt x="1115232" y="242944"/>
                  </a:lnTo>
                  <a:lnTo>
                    <a:pt x="1107804" y="235516"/>
                  </a:lnTo>
                  <a:lnTo>
                    <a:pt x="944437" y="75121"/>
                  </a:lnTo>
                  <a:lnTo>
                    <a:pt x="942952" y="73635"/>
                  </a:lnTo>
                  <a:lnTo>
                    <a:pt x="940723" y="72892"/>
                  </a:lnTo>
                  <a:cubicBezTo>
                    <a:pt x="924382" y="68436"/>
                    <a:pt x="908048" y="63979"/>
                    <a:pt x="891707" y="60265"/>
                  </a:cubicBezTo>
                  <a:lnTo>
                    <a:pt x="842699" y="49866"/>
                  </a:lnTo>
                  <a:cubicBezTo>
                    <a:pt x="810024" y="43181"/>
                    <a:pt x="777349" y="36504"/>
                    <a:pt x="743932" y="29826"/>
                  </a:cubicBezTo>
                  <a:cubicBezTo>
                    <a:pt x="710514" y="23141"/>
                    <a:pt x="677847" y="17934"/>
                    <a:pt x="644429" y="12735"/>
                  </a:cubicBezTo>
                  <a:cubicBezTo>
                    <a:pt x="611012" y="7543"/>
                    <a:pt x="577594" y="3086"/>
                    <a:pt x="544177" y="858"/>
                  </a:cubicBezTo>
                  <a:cubicBezTo>
                    <a:pt x="527100" y="115"/>
                    <a:pt x="510016" y="-628"/>
                    <a:pt x="492197" y="858"/>
                  </a:cubicBezTo>
                  <a:cubicBezTo>
                    <a:pt x="487740" y="1600"/>
                    <a:pt x="483284" y="1600"/>
                    <a:pt x="478827" y="3086"/>
                  </a:cubicBezTo>
                  <a:cubicBezTo>
                    <a:pt x="474370" y="4571"/>
                    <a:pt x="469921" y="5314"/>
                    <a:pt x="466207" y="6800"/>
                  </a:cubicBezTo>
                  <a:cubicBezTo>
                    <a:pt x="458037" y="9771"/>
                    <a:pt x="449866" y="12735"/>
                    <a:pt x="442446" y="16448"/>
                  </a:cubicBezTo>
                  <a:cubicBezTo>
                    <a:pt x="411256" y="30561"/>
                    <a:pt x="382295" y="46902"/>
                    <a:pt x="353335" y="63979"/>
                  </a:cubicBezTo>
                  <a:cubicBezTo>
                    <a:pt x="342193" y="70664"/>
                    <a:pt x="331051" y="77349"/>
                    <a:pt x="319917" y="84034"/>
                  </a:cubicBezTo>
                  <a:cubicBezTo>
                    <a:pt x="273872" y="112252"/>
                    <a:pt x="227835" y="141213"/>
                    <a:pt x="182533" y="170917"/>
                  </a:cubicBezTo>
                  <a:lnTo>
                    <a:pt x="100106" y="226610"/>
                  </a:lnTo>
                  <a:close/>
                </a:path>
              </a:pathLst>
            </a:custGeom>
            <a:solidFill>
              <a:srgbClr val="EDCFC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ihåndsform: figur 12">
              <a:extLst>
                <a:ext uri="{FF2B5EF4-FFF2-40B4-BE49-F238E27FC236}">
                  <a16:creationId xmlns:a16="http://schemas.microsoft.com/office/drawing/2014/main" id="{038A653F-FB49-8DF3-5C38-F526F6420A23}"/>
                </a:ext>
              </a:extLst>
            </p:cNvPr>
            <p:cNvSpPr/>
            <p:nvPr/>
          </p:nvSpPr>
          <p:spPr>
            <a:xfrm>
              <a:off x="10535150" y="5626411"/>
              <a:ext cx="2364425" cy="2304260"/>
            </a:xfrm>
            <a:custGeom>
              <a:avLst/>
              <a:gdLst>
                <a:gd name="connsiteX0" fmla="*/ 1433198 w 2364425"/>
                <a:gd name="connsiteY0" fmla="*/ 1603999 h 2304260"/>
                <a:gd name="connsiteX1" fmla="*/ 1214880 w 2364425"/>
                <a:gd name="connsiteY1" fmla="*/ 1436919 h 2304260"/>
                <a:gd name="connsiteX2" fmla="*/ 1110914 w 2364425"/>
                <a:gd name="connsiteY2" fmla="*/ 1348543 h 2304260"/>
                <a:gd name="connsiteX3" fmla="*/ 1061162 w 2364425"/>
                <a:gd name="connsiteY3" fmla="*/ 1301763 h 2304260"/>
                <a:gd name="connsiteX4" fmla="*/ 1011411 w 2364425"/>
                <a:gd name="connsiteY4" fmla="*/ 1254233 h 2304260"/>
                <a:gd name="connsiteX5" fmla="*/ 621549 w 2364425"/>
                <a:gd name="connsiteY5" fmla="*/ 865864 h 2304260"/>
                <a:gd name="connsiteX6" fmla="*/ 427728 w 2364425"/>
                <a:gd name="connsiteY6" fmla="*/ 670558 h 2304260"/>
                <a:gd name="connsiteX7" fmla="*/ 329712 w 2364425"/>
                <a:gd name="connsiteY7" fmla="*/ 573276 h 2304260"/>
                <a:gd name="connsiteX8" fmla="*/ 280696 w 2364425"/>
                <a:gd name="connsiteY8" fmla="*/ 525010 h 2304260"/>
                <a:gd name="connsiteX9" fmla="*/ 230944 w 2364425"/>
                <a:gd name="connsiteY9" fmla="*/ 477487 h 2304260"/>
                <a:gd name="connsiteX10" fmla="*/ 178965 w 2364425"/>
                <a:gd name="connsiteY10" fmla="*/ 431443 h 2304260"/>
                <a:gd name="connsiteX11" fmla="*/ 132177 w 2364425"/>
                <a:gd name="connsiteY11" fmla="*/ 383177 h 2304260"/>
                <a:gd name="connsiteX12" fmla="*/ 64607 w 2364425"/>
                <a:gd name="connsiteY12" fmla="*/ 265848 h 2304260"/>
                <a:gd name="connsiteX13" fmla="*/ 23761 w 2364425"/>
                <a:gd name="connsiteY13" fmla="*/ 135149 h 2304260"/>
                <a:gd name="connsiteX14" fmla="*/ 1486 w 2364425"/>
                <a:gd name="connsiteY14" fmla="*/ 11877 h 2304260"/>
                <a:gd name="connsiteX15" fmla="*/ 0 w 2364425"/>
                <a:gd name="connsiteY15" fmla="*/ 743 h 2304260"/>
                <a:gd name="connsiteX16" fmla="*/ 0 w 2364425"/>
                <a:gd name="connsiteY16" fmla="*/ 0 h 2304260"/>
                <a:gd name="connsiteX17" fmla="*/ 1486 w 2364425"/>
                <a:gd name="connsiteY17" fmla="*/ 11877 h 2304260"/>
                <a:gd name="connsiteX18" fmla="*/ 55693 w 2364425"/>
                <a:gd name="connsiteY18" fmla="*/ 269562 h 2304260"/>
                <a:gd name="connsiteX19" fmla="*/ 121786 w 2364425"/>
                <a:gd name="connsiteY19" fmla="*/ 392090 h 2304260"/>
                <a:gd name="connsiteX20" fmla="*/ 169309 w 2364425"/>
                <a:gd name="connsiteY20" fmla="*/ 444070 h 2304260"/>
                <a:gd name="connsiteX21" fmla="*/ 219060 w 2364425"/>
                <a:gd name="connsiteY21" fmla="*/ 490850 h 2304260"/>
                <a:gd name="connsiteX22" fmla="*/ 415109 w 2364425"/>
                <a:gd name="connsiteY22" fmla="*/ 683185 h 2304260"/>
                <a:gd name="connsiteX23" fmla="*/ 608922 w 2364425"/>
                <a:gd name="connsiteY23" fmla="*/ 878484 h 2304260"/>
                <a:gd name="connsiteX24" fmla="*/ 998784 w 2364425"/>
                <a:gd name="connsiteY24" fmla="*/ 1266860 h 2304260"/>
                <a:gd name="connsiteX25" fmla="*/ 1048535 w 2364425"/>
                <a:gd name="connsiteY25" fmla="*/ 1314390 h 2304260"/>
                <a:gd name="connsiteX26" fmla="*/ 1099037 w 2364425"/>
                <a:gd name="connsiteY26" fmla="*/ 1361913 h 2304260"/>
                <a:gd name="connsiteX27" fmla="*/ 1204481 w 2364425"/>
                <a:gd name="connsiteY27" fmla="*/ 1451024 h 2304260"/>
                <a:gd name="connsiteX28" fmla="*/ 1423549 w 2364425"/>
                <a:gd name="connsiteY28" fmla="*/ 1618104 h 2304260"/>
                <a:gd name="connsiteX29" fmla="*/ 2302033 w 2364425"/>
                <a:gd name="connsiteY29" fmla="*/ 2281235 h 2304260"/>
                <a:gd name="connsiteX30" fmla="*/ 2333229 w 2364425"/>
                <a:gd name="connsiteY30" fmla="*/ 2304261 h 2304260"/>
                <a:gd name="connsiteX31" fmla="*/ 2364426 w 2364425"/>
                <a:gd name="connsiteY31" fmla="*/ 2304261 h 2304260"/>
                <a:gd name="connsiteX32" fmla="*/ 2313917 w 2364425"/>
                <a:gd name="connsiteY32" fmla="*/ 2266386 h 2304260"/>
                <a:gd name="connsiteX33" fmla="*/ 1433198 w 2364425"/>
                <a:gd name="connsiteY33" fmla="*/ 1603999 h 23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64425" h="2304260">
                  <a:moveTo>
                    <a:pt x="1433198" y="1603999"/>
                  </a:moveTo>
                  <a:cubicBezTo>
                    <a:pt x="1360428" y="1548306"/>
                    <a:pt x="1286907" y="1493355"/>
                    <a:pt x="1214880" y="1436919"/>
                  </a:cubicBezTo>
                  <a:cubicBezTo>
                    <a:pt x="1178491" y="1409443"/>
                    <a:pt x="1144331" y="1379732"/>
                    <a:pt x="1110914" y="1348543"/>
                  </a:cubicBezTo>
                  <a:cubicBezTo>
                    <a:pt x="1093837" y="1332952"/>
                    <a:pt x="1077496" y="1317361"/>
                    <a:pt x="1061162" y="1301763"/>
                  </a:cubicBezTo>
                  <a:cubicBezTo>
                    <a:pt x="1044821" y="1286172"/>
                    <a:pt x="1027745" y="1269831"/>
                    <a:pt x="1011411" y="1254233"/>
                  </a:cubicBezTo>
                  <a:cubicBezTo>
                    <a:pt x="879969" y="1126512"/>
                    <a:pt x="750755" y="995813"/>
                    <a:pt x="621549" y="865864"/>
                  </a:cubicBezTo>
                  <a:lnTo>
                    <a:pt x="427728" y="670558"/>
                  </a:lnTo>
                  <a:cubicBezTo>
                    <a:pt x="395061" y="637883"/>
                    <a:pt x="363122" y="605951"/>
                    <a:pt x="329712" y="573276"/>
                  </a:cubicBezTo>
                  <a:lnTo>
                    <a:pt x="280696" y="525010"/>
                  </a:lnTo>
                  <a:cubicBezTo>
                    <a:pt x="264362" y="508669"/>
                    <a:pt x="247286" y="493078"/>
                    <a:pt x="230944" y="477487"/>
                  </a:cubicBezTo>
                  <a:cubicBezTo>
                    <a:pt x="214611" y="461889"/>
                    <a:pt x="196041" y="447041"/>
                    <a:pt x="178965" y="431443"/>
                  </a:cubicBezTo>
                  <a:cubicBezTo>
                    <a:pt x="161881" y="416594"/>
                    <a:pt x="146290" y="400996"/>
                    <a:pt x="132177" y="383177"/>
                  </a:cubicBezTo>
                  <a:cubicBezTo>
                    <a:pt x="103959" y="348274"/>
                    <a:pt x="81683" y="308179"/>
                    <a:pt x="64607" y="265848"/>
                  </a:cubicBezTo>
                  <a:cubicBezTo>
                    <a:pt x="47523" y="223517"/>
                    <a:pt x="34160" y="179700"/>
                    <a:pt x="23761" y="135149"/>
                  </a:cubicBezTo>
                  <a:cubicBezTo>
                    <a:pt x="14105" y="94303"/>
                    <a:pt x="7420" y="52723"/>
                    <a:pt x="1486" y="11877"/>
                  </a:cubicBezTo>
                  <a:cubicBezTo>
                    <a:pt x="743" y="8170"/>
                    <a:pt x="743" y="4456"/>
                    <a:pt x="0" y="743"/>
                  </a:cubicBezTo>
                  <a:lnTo>
                    <a:pt x="0" y="0"/>
                  </a:lnTo>
                  <a:cubicBezTo>
                    <a:pt x="0" y="3714"/>
                    <a:pt x="743" y="8170"/>
                    <a:pt x="1486" y="11877"/>
                  </a:cubicBezTo>
                  <a:cubicBezTo>
                    <a:pt x="9649" y="99503"/>
                    <a:pt x="24504" y="186393"/>
                    <a:pt x="55693" y="269562"/>
                  </a:cubicBezTo>
                  <a:cubicBezTo>
                    <a:pt x="72027" y="312628"/>
                    <a:pt x="93568" y="354216"/>
                    <a:pt x="121786" y="392090"/>
                  </a:cubicBezTo>
                  <a:cubicBezTo>
                    <a:pt x="135149" y="410652"/>
                    <a:pt x="151489" y="427736"/>
                    <a:pt x="169309" y="444070"/>
                  </a:cubicBezTo>
                  <a:cubicBezTo>
                    <a:pt x="186393" y="459661"/>
                    <a:pt x="202726" y="474516"/>
                    <a:pt x="219060" y="490850"/>
                  </a:cubicBezTo>
                  <a:cubicBezTo>
                    <a:pt x="285152" y="553971"/>
                    <a:pt x="350502" y="618578"/>
                    <a:pt x="415109" y="683185"/>
                  </a:cubicBezTo>
                  <a:lnTo>
                    <a:pt x="608922" y="878484"/>
                  </a:lnTo>
                  <a:cubicBezTo>
                    <a:pt x="738136" y="1008440"/>
                    <a:pt x="867342" y="1139132"/>
                    <a:pt x="998784" y="1266860"/>
                  </a:cubicBezTo>
                  <a:cubicBezTo>
                    <a:pt x="1015117" y="1283193"/>
                    <a:pt x="1031459" y="1298792"/>
                    <a:pt x="1048535" y="1314390"/>
                  </a:cubicBezTo>
                  <a:cubicBezTo>
                    <a:pt x="1065619" y="1329981"/>
                    <a:pt x="1081953" y="1346315"/>
                    <a:pt x="1099037" y="1361913"/>
                  </a:cubicBezTo>
                  <a:cubicBezTo>
                    <a:pt x="1132454" y="1393102"/>
                    <a:pt x="1168093" y="1423549"/>
                    <a:pt x="1204481" y="1451024"/>
                  </a:cubicBezTo>
                  <a:cubicBezTo>
                    <a:pt x="1277259" y="1507460"/>
                    <a:pt x="1350029" y="1562411"/>
                    <a:pt x="1423549" y="1618104"/>
                  </a:cubicBezTo>
                  <a:lnTo>
                    <a:pt x="2302033" y="2281235"/>
                  </a:lnTo>
                  <a:lnTo>
                    <a:pt x="2333229" y="2304261"/>
                  </a:lnTo>
                  <a:lnTo>
                    <a:pt x="2364426" y="2304261"/>
                  </a:lnTo>
                  <a:lnTo>
                    <a:pt x="2313917" y="2266386"/>
                  </a:lnTo>
                  <a:lnTo>
                    <a:pt x="1433198" y="1603999"/>
                  </a:lnTo>
                  <a:close/>
                </a:path>
              </a:pathLst>
            </a:custGeom>
            <a:solidFill>
              <a:srgbClr val="EDCFC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ihåndsform: figur 13">
              <a:extLst>
                <a:ext uri="{FF2B5EF4-FFF2-40B4-BE49-F238E27FC236}">
                  <a16:creationId xmlns:a16="http://schemas.microsoft.com/office/drawing/2014/main" id="{CBF6AD53-5ABD-442C-805F-FA3FBD5AB496}"/>
                </a:ext>
              </a:extLst>
            </p:cNvPr>
            <p:cNvSpPr/>
            <p:nvPr/>
          </p:nvSpPr>
          <p:spPr>
            <a:xfrm>
              <a:off x="7722235" y="3697149"/>
              <a:ext cx="394311" cy="582931"/>
            </a:xfrm>
            <a:custGeom>
              <a:avLst/>
              <a:gdLst>
                <a:gd name="connsiteX0" fmla="*/ 369064 w 394311"/>
                <a:gd name="connsiteY0" fmla="*/ 141091 h 582931"/>
                <a:gd name="connsiteX1" fmla="*/ 344560 w 394311"/>
                <a:gd name="connsiteY1" fmla="*/ 126985 h 582931"/>
                <a:gd name="connsiteX2" fmla="*/ 171537 w 394311"/>
                <a:gd name="connsiteY2" fmla="*/ 33418 h 582931"/>
                <a:gd name="connsiteX3" fmla="*/ 149261 w 394311"/>
                <a:gd name="connsiteY3" fmla="*/ 23761 h 582931"/>
                <a:gd name="connsiteX4" fmla="*/ 126978 w 394311"/>
                <a:gd name="connsiteY4" fmla="*/ 17084 h 582931"/>
                <a:gd name="connsiteX5" fmla="*/ 79455 w 394311"/>
                <a:gd name="connsiteY5" fmla="*/ 8913 h 582931"/>
                <a:gd name="connsiteX6" fmla="*/ 0 w 394311"/>
                <a:gd name="connsiteY6" fmla="*/ 0 h 582931"/>
                <a:gd name="connsiteX7" fmla="*/ 129949 w 394311"/>
                <a:gd name="connsiteY7" fmla="*/ 213868 h 582931"/>
                <a:gd name="connsiteX8" fmla="*/ 262134 w 394311"/>
                <a:gd name="connsiteY8" fmla="*/ 576997 h 582931"/>
                <a:gd name="connsiteX9" fmla="*/ 282182 w 394311"/>
                <a:gd name="connsiteY9" fmla="*/ 582932 h 582931"/>
                <a:gd name="connsiteX10" fmla="*/ 394311 w 394311"/>
                <a:gd name="connsiteY10" fmla="*/ 262141 h 582931"/>
                <a:gd name="connsiteX11" fmla="*/ 369064 w 394311"/>
                <a:gd name="connsiteY11" fmla="*/ 141091 h 58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4311" h="582931">
                  <a:moveTo>
                    <a:pt x="369064" y="141091"/>
                  </a:moveTo>
                  <a:lnTo>
                    <a:pt x="344560" y="126985"/>
                  </a:lnTo>
                  <a:cubicBezTo>
                    <a:pt x="287381" y="94310"/>
                    <a:pt x="230202" y="61636"/>
                    <a:pt x="171537" y="33418"/>
                  </a:cubicBezTo>
                  <a:cubicBezTo>
                    <a:pt x="164109" y="29704"/>
                    <a:pt x="156682" y="26733"/>
                    <a:pt x="149261" y="23761"/>
                  </a:cubicBezTo>
                  <a:cubicBezTo>
                    <a:pt x="141833" y="20790"/>
                    <a:pt x="135149" y="18569"/>
                    <a:pt x="126978" y="17084"/>
                  </a:cubicBezTo>
                  <a:cubicBezTo>
                    <a:pt x="111387" y="13370"/>
                    <a:pt x="95046" y="11142"/>
                    <a:pt x="79455" y="8913"/>
                  </a:cubicBezTo>
                  <a:cubicBezTo>
                    <a:pt x="53465" y="5199"/>
                    <a:pt x="26733" y="2971"/>
                    <a:pt x="0" y="0"/>
                  </a:cubicBezTo>
                  <a:cubicBezTo>
                    <a:pt x="42323" y="61636"/>
                    <a:pt x="110644" y="164117"/>
                    <a:pt x="129949" y="213868"/>
                  </a:cubicBezTo>
                  <a:cubicBezTo>
                    <a:pt x="158910" y="287388"/>
                    <a:pt x="196784" y="552486"/>
                    <a:pt x="262134" y="576997"/>
                  </a:cubicBezTo>
                  <a:cubicBezTo>
                    <a:pt x="268819" y="579218"/>
                    <a:pt x="275496" y="581447"/>
                    <a:pt x="282182" y="582932"/>
                  </a:cubicBezTo>
                  <a:cubicBezTo>
                    <a:pt x="297780" y="467089"/>
                    <a:pt x="337132" y="358680"/>
                    <a:pt x="394311" y="262141"/>
                  </a:cubicBezTo>
                  <a:cubicBezTo>
                    <a:pt x="386891" y="222781"/>
                    <a:pt x="377978" y="181193"/>
                    <a:pt x="369064" y="141091"/>
                  </a:cubicBezTo>
                  <a:close/>
                </a:path>
              </a:pathLst>
            </a:custGeom>
            <a:solidFill>
              <a:srgbClr val="1E2B3C"/>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ihåndsform: figur 14">
              <a:extLst>
                <a:ext uri="{FF2B5EF4-FFF2-40B4-BE49-F238E27FC236}">
                  <a16:creationId xmlns:a16="http://schemas.microsoft.com/office/drawing/2014/main" id="{2E5DE782-8402-8567-735E-7BFAE966F55B}"/>
                </a:ext>
              </a:extLst>
            </p:cNvPr>
            <p:cNvSpPr/>
            <p:nvPr/>
          </p:nvSpPr>
          <p:spPr>
            <a:xfrm>
              <a:off x="5185530" y="1694389"/>
              <a:ext cx="3685478" cy="2411492"/>
            </a:xfrm>
            <a:custGeom>
              <a:avLst/>
              <a:gdLst>
                <a:gd name="connsiteX0" fmla="*/ 1811925 w 3685478"/>
                <a:gd name="connsiteY0" fmla="*/ 1969350 h 2411492"/>
                <a:gd name="connsiteX1" fmla="*/ 2166141 w 3685478"/>
                <a:gd name="connsiteY1" fmla="*/ 1965636 h 2411492"/>
                <a:gd name="connsiteX2" fmla="*/ 2125296 w 3685478"/>
                <a:gd name="connsiteY2" fmla="*/ 1957473 h 2411492"/>
                <a:gd name="connsiteX3" fmla="*/ 2030243 w 3685478"/>
                <a:gd name="connsiteY3" fmla="*/ 1928512 h 2411492"/>
                <a:gd name="connsiteX4" fmla="*/ 1942617 w 3685478"/>
                <a:gd name="connsiteY4" fmla="*/ 1882474 h 2411492"/>
                <a:gd name="connsiteX5" fmla="*/ 2126782 w 3685478"/>
                <a:gd name="connsiteY5" fmla="*/ 1947074 h 2411492"/>
                <a:gd name="connsiteX6" fmla="*/ 2322823 w 3685478"/>
                <a:gd name="connsiteY6" fmla="*/ 1966386 h 2411492"/>
                <a:gd name="connsiteX7" fmla="*/ 2519614 w 3685478"/>
                <a:gd name="connsiteY7" fmla="*/ 1981234 h 2411492"/>
                <a:gd name="connsiteX8" fmla="*/ 2618374 w 3685478"/>
                <a:gd name="connsiteY8" fmla="*/ 1991625 h 2411492"/>
                <a:gd name="connsiteX9" fmla="*/ 2667390 w 3685478"/>
                <a:gd name="connsiteY9" fmla="*/ 2000539 h 2411492"/>
                <a:gd name="connsiteX10" fmla="*/ 2692637 w 3685478"/>
                <a:gd name="connsiteY10" fmla="*/ 2007967 h 2411492"/>
                <a:gd name="connsiteX11" fmla="*/ 2715656 w 3685478"/>
                <a:gd name="connsiteY11" fmla="*/ 2018365 h 2411492"/>
                <a:gd name="connsiteX12" fmla="*/ 2889421 w 3685478"/>
                <a:gd name="connsiteY12" fmla="*/ 2112676 h 2411492"/>
                <a:gd name="connsiteX13" fmla="*/ 3060216 w 3685478"/>
                <a:gd name="connsiteY13" fmla="*/ 2211443 h 2411492"/>
                <a:gd name="connsiteX14" fmla="*/ 3231760 w 3685478"/>
                <a:gd name="connsiteY14" fmla="*/ 2309460 h 2411492"/>
                <a:gd name="connsiteX15" fmla="*/ 3318643 w 3685478"/>
                <a:gd name="connsiteY15" fmla="*/ 2356248 h 2411492"/>
                <a:gd name="connsiteX16" fmla="*/ 3407011 w 3685478"/>
                <a:gd name="connsiteY16" fmla="*/ 2397086 h 2411492"/>
                <a:gd name="connsiteX17" fmla="*/ 3499836 w 3685478"/>
                <a:gd name="connsiteY17" fmla="*/ 2410456 h 2411492"/>
                <a:gd name="connsiteX18" fmla="*/ 3575577 w 3685478"/>
                <a:gd name="connsiteY18" fmla="*/ 2365161 h 2411492"/>
                <a:gd name="connsiteX19" fmla="*/ 3596368 w 3685478"/>
                <a:gd name="connsiteY19" fmla="*/ 2323566 h 2411492"/>
                <a:gd name="connsiteX20" fmla="*/ 3600082 w 3685478"/>
                <a:gd name="connsiteY20" fmla="*/ 2312431 h 2411492"/>
                <a:gd name="connsiteX21" fmla="*/ 3603053 w 3685478"/>
                <a:gd name="connsiteY21" fmla="*/ 2301290 h 2411492"/>
                <a:gd name="connsiteX22" fmla="*/ 3605281 w 3685478"/>
                <a:gd name="connsiteY22" fmla="*/ 2289413 h 2411492"/>
                <a:gd name="connsiteX23" fmla="*/ 3606024 w 3685478"/>
                <a:gd name="connsiteY23" fmla="*/ 2279014 h 2411492"/>
                <a:gd name="connsiteX24" fmla="*/ 3594147 w 3685478"/>
                <a:gd name="connsiteY24" fmla="*/ 2235947 h 2411492"/>
                <a:gd name="connsiteX25" fmla="*/ 3568150 w 3685478"/>
                <a:gd name="connsiteY25" fmla="*/ 2195845 h 2411492"/>
                <a:gd name="connsiteX26" fmla="*/ 3502065 w 3685478"/>
                <a:gd name="connsiteY26" fmla="*/ 2125296 h 2411492"/>
                <a:gd name="connsiteX27" fmla="*/ 3427059 w 3685478"/>
                <a:gd name="connsiteY27" fmla="*/ 2062175 h 2411492"/>
                <a:gd name="connsiteX28" fmla="*/ 3347604 w 3685478"/>
                <a:gd name="connsiteY28" fmla="*/ 2004253 h 2411492"/>
                <a:gd name="connsiteX29" fmla="*/ 3306759 w 3685478"/>
                <a:gd name="connsiteY29" fmla="*/ 1976777 h 2411492"/>
                <a:gd name="connsiteX30" fmla="*/ 3285968 w 3685478"/>
                <a:gd name="connsiteY30" fmla="*/ 1962672 h 2411492"/>
                <a:gd name="connsiteX31" fmla="*/ 3265913 w 3685478"/>
                <a:gd name="connsiteY31" fmla="*/ 1947816 h 2411492"/>
                <a:gd name="connsiteX32" fmla="*/ 3112946 w 3685478"/>
                <a:gd name="connsiteY32" fmla="*/ 1823067 h 2411492"/>
                <a:gd name="connsiteX33" fmla="*/ 2965170 w 3685478"/>
                <a:gd name="connsiteY33" fmla="*/ 1692368 h 2411492"/>
                <a:gd name="connsiteX34" fmla="*/ 2930267 w 3685478"/>
                <a:gd name="connsiteY34" fmla="*/ 1656722 h 2411492"/>
                <a:gd name="connsiteX35" fmla="*/ 2899077 w 3685478"/>
                <a:gd name="connsiteY35" fmla="*/ 1617369 h 2411492"/>
                <a:gd name="connsiteX36" fmla="*/ 2850812 w 3685478"/>
                <a:gd name="connsiteY36" fmla="*/ 1530479 h 2411492"/>
                <a:gd name="connsiteX37" fmla="*/ 2818880 w 3685478"/>
                <a:gd name="connsiteY37" fmla="*/ 1436911 h 2411492"/>
                <a:gd name="connsiteX38" fmla="*/ 2810709 w 3685478"/>
                <a:gd name="connsiteY38" fmla="*/ 1338895 h 2411492"/>
                <a:gd name="connsiteX39" fmla="*/ 2859718 w 3685478"/>
                <a:gd name="connsiteY39" fmla="*/ 1526773 h 2411492"/>
                <a:gd name="connsiteX40" fmla="*/ 2910962 w 3685478"/>
                <a:gd name="connsiteY40" fmla="*/ 1609942 h 2411492"/>
                <a:gd name="connsiteX41" fmla="*/ 2942887 w 3685478"/>
                <a:gd name="connsiteY41" fmla="*/ 1646330 h 2411492"/>
                <a:gd name="connsiteX42" fmla="*/ 2978532 w 3685478"/>
                <a:gd name="connsiteY42" fmla="*/ 1679740 h 2411492"/>
                <a:gd name="connsiteX43" fmla="*/ 3125565 w 3685478"/>
                <a:gd name="connsiteY43" fmla="*/ 1810440 h 2411492"/>
                <a:gd name="connsiteX44" fmla="*/ 3277798 w 3685478"/>
                <a:gd name="connsiteY44" fmla="*/ 1935197 h 2411492"/>
                <a:gd name="connsiteX45" fmla="*/ 3280769 w 3685478"/>
                <a:gd name="connsiteY45" fmla="*/ 1937418 h 2411492"/>
                <a:gd name="connsiteX46" fmla="*/ 3315672 w 3685478"/>
                <a:gd name="connsiteY46" fmla="*/ 1920341 h 2411492"/>
                <a:gd name="connsiteX47" fmla="*/ 3086213 w 3685478"/>
                <a:gd name="connsiteY47" fmla="*/ 1560183 h 2411492"/>
                <a:gd name="connsiteX48" fmla="*/ 3394384 w 3685478"/>
                <a:gd name="connsiteY48" fmla="*/ 1888416 h 2411492"/>
                <a:gd name="connsiteX49" fmla="*/ 3626814 w 3685478"/>
                <a:gd name="connsiteY49" fmla="*/ 1843857 h 2411492"/>
                <a:gd name="connsiteX50" fmla="*/ 3685479 w 3685478"/>
                <a:gd name="connsiteY50" fmla="*/ 1843107 h 2411492"/>
                <a:gd name="connsiteX51" fmla="*/ 3678801 w 3685478"/>
                <a:gd name="connsiteY51" fmla="*/ 1831230 h 2411492"/>
                <a:gd name="connsiteX52" fmla="*/ 3577063 w 3685478"/>
                <a:gd name="connsiteY52" fmla="*/ 1655979 h 2411492"/>
                <a:gd name="connsiteX53" fmla="*/ 3354289 w 3685478"/>
                <a:gd name="connsiteY53" fmla="*/ 1318097 h 2411492"/>
                <a:gd name="connsiteX54" fmla="*/ 3219876 w 3685478"/>
                <a:gd name="connsiteY54" fmla="*/ 1168835 h 2411492"/>
                <a:gd name="connsiteX55" fmla="*/ 3048339 w 3685478"/>
                <a:gd name="connsiteY55" fmla="*/ 1069333 h 2411492"/>
                <a:gd name="connsiteX56" fmla="*/ 2852297 w 3685478"/>
                <a:gd name="connsiteY56" fmla="*/ 1052999 h 2411492"/>
                <a:gd name="connsiteX57" fmla="*/ 2802539 w 3685478"/>
                <a:gd name="connsiteY57" fmla="*/ 1063391 h 2411492"/>
                <a:gd name="connsiteX58" fmla="*/ 2752787 w 3685478"/>
                <a:gd name="connsiteY58" fmla="*/ 1073047 h 2411492"/>
                <a:gd name="connsiteX59" fmla="*/ 2652535 w 3685478"/>
                <a:gd name="connsiteY59" fmla="*/ 1089380 h 2411492"/>
                <a:gd name="connsiteX60" fmla="*/ 2248567 w 3685478"/>
                <a:gd name="connsiteY60" fmla="*/ 1138396 h 2411492"/>
                <a:gd name="connsiteX61" fmla="*/ 2198073 w 3685478"/>
                <a:gd name="connsiteY61" fmla="*/ 1142110 h 2411492"/>
                <a:gd name="connsiteX62" fmla="*/ 2172819 w 3685478"/>
                <a:gd name="connsiteY62" fmla="*/ 1143588 h 2411492"/>
                <a:gd name="connsiteX63" fmla="*/ 2147572 w 3685478"/>
                <a:gd name="connsiteY63" fmla="*/ 1144331 h 2411492"/>
                <a:gd name="connsiteX64" fmla="*/ 2095592 w 3685478"/>
                <a:gd name="connsiteY64" fmla="*/ 1142846 h 2411492"/>
                <a:gd name="connsiteX65" fmla="*/ 2044355 w 3685478"/>
                <a:gd name="connsiteY65" fmla="*/ 1133197 h 2411492"/>
                <a:gd name="connsiteX66" fmla="*/ 2018366 w 3685478"/>
                <a:gd name="connsiteY66" fmla="*/ 1126512 h 2411492"/>
                <a:gd name="connsiteX67" fmla="*/ 1643352 w 3685478"/>
                <a:gd name="connsiteY67" fmla="*/ 973537 h 2411492"/>
                <a:gd name="connsiteX68" fmla="*/ 1177749 w 3685478"/>
                <a:gd name="connsiteY68" fmla="*/ 706949 h 2411492"/>
                <a:gd name="connsiteX69" fmla="*/ 1134675 w 3685478"/>
                <a:gd name="connsiteY69" fmla="*/ 682441 h 2411492"/>
                <a:gd name="connsiteX70" fmla="*/ 1150273 w 3685478"/>
                <a:gd name="connsiteY70" fmla="*/ 690610 h 2411492"/>
                <a:gd name="connsiteX71" fmla="*/ 0 w 3685478"/>
                <a:gd name="connsiteY71" fmla="*/ 0 h 2411492"/>
                <a:gd name="connsiteX72" fmla="*/ 0 w 3685478"/>
                <a:gd name="connsiteY72" fmla="*/ 1361913 h 2411492"/>
                <a:gd name="connsiteX73" fmla="*/ 1290621 w 3685478"/>
                <a:gd name="connsiteY73" fmla="*/ 1764395 h 2411492"/>
                <a:gd name="connsiteX74" fmla="*/ 1811925 w 3685478"/>
                <a:gd name="connsiteY74" fmla="*/ 1969350 h 241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685478" h="2411492">
                  <a:moveTo>
                    <a:pt x="1811925" y="1969350"/>
                  </a:moveTo>
                  <a:cubicBezTo>
                    <a:pt x="1924055" y="2010938"/>
                    <a:pt x="2063660" y="1986434"/>
                    <a:pt x="2166141" y="1965636"/>
                  </a:cubicBezTo>
                  <a:cubicBezTo>
                    <a:pt x="2152771" y="1963407"/>
                    <a:pt x="2138666" y="1960444"/>
                    <a:pt x="2125296" y="1957473"/>
                  </a:cubicBezTo>
                  <a:cubicBezTo>
                    <a:pt x="2092621" y="1950045"/>
                    <a:pt x="2061432" y="1941132"/>
                    <a:pt x="2030243" y="1928512"/>
                  </a:cubicBezTo>
                  <a:cubicBezTo>
                    <a:pt x="1999796" y="1915884"/>
                    <a:pt x="1970092" y="1901036"/>
                    <a:pt x="1942617" y="1882474"/>
                  </a:cubicBezTo>
                  <a:cubicBezTo>
                    <a:pt x="1999796" y="1915892"/>
                    <a:pt x="2062917" y="1935932"/>
                    <a:pt x="2126782" y="1947074"/>
                  </a:cubicBezTo>
                  <a:cubicBezTo>
                    <a:pt x="2191388" y="1958215"/>
                    <a:pt x="2256738" y="1961186"/>
                    <a:pt x="2322823" y="1966386"/>
                  </a:cubicBezTo>
                  <a:cubicBezTo>
                    <a:pt x="2388173" y="1972328"/>
                    <a:pt x="2453522" y="1976042"/>
                    <a:pt x="2519614" y="1981234"/>
                  </a:cubicBezTo>
                  <a:cubicBezTo>
                    <a:pt x="2552289" y="1984205"/>
                    <a:pt x="2585707" y="1987176"/>
                    <a:pt x="2618374" y="1991625"/>
                  </a:cubicBezTo>
                  <a:cubicBezTo>
                    <a:pt x="2634715" y="1993854"/>
                    <a:pt x="2651049" y="1996825"/>
                    <a:pt x="2667390" y="2000539"/>
                  </a:cubicBezTo>
                  <a:cubicBezTo>
                    <a:pt x="2675561" y="2002024"/>
                    <a:pt x="2684467" y="2004996"/>
                    <a:pt x="2692637" y="2007967"/>
                  </a:cubicBezTo>
                  <a:cubicBezTo>
                    <a:pt x="2700808" y="2010938"/>
                    <a:pt x="2708228" y="2014652"/>
                    <a:pt x="2715656" y="2018365"/>
                  </a:cubicBezTo>
                  <a:cubicBezTo>
                    <a:pt x="2775806" y="2047326"/>
                    <a:pt x="2832242" y="2080001"/>
                    <a:pt x="2889421" y="2112676"/>
                  </a:cubicBezTo>
                  <a:lnTo>
                    <a:pt x="3060216" y="2211443"/>
                  </a:lnTo>
                  <a:cubicBezTo>
                    <a:pt x="3117402" y="2244111"/>
                    <a:pt x="3173838" y="2277536"/>
                    <a:pt x="3231760" y="2309460"/>
                  </a:cubicBezTo>
                  <a:cubicBezTo>
                    <a:pt x="3260721" y="2325059"/>
                    <a:pt x="3288939" y="2341392"/>
                    <a:pt x="3318643" y="2356248"/>
                  </a:cubicBezTo>
                  <a:cubicBezTo>
                    <a:pt x="3347604" y="2371096"/>
                    <a:pt x="3377308" y="2385952"/>
                    <a:pt x="3407011" y="2397086"/>
                  </a:cubicBezTo>
                  <a:cubicBezTo>
                    <a:pt x="3436715" y="2407485"/>
                    <a:pt x="3468647" y="2414170"/>
                    <a:pt x="3499836" y="2410456"/>
                  </a:cubicBezTo>
                  <a:cubicBezTo>
                    <a:pt x="3530283" y="2407485"/>
                    <a:pt x="3557758" y="2390408"/>
                    <a:pt x="3575577" y="2365161"/>
                  </a:cubicBezTo>
                  <a:cubicBezTo>
                    <a:pt x="3584491" y="2352534"/>
                    <a:pt x="3591911" y="2338421"/>
                    <a:pt x="3596368" y="2323566"/>
                  </a:cubicBezTo>
                  <a:cubicBezTo>
                    <a:pt x="3597853" y="2319859"/>
                    <a:pt x="3598596" y="2316145"/>
                    <a:pt x="3600082" y="2312431"/>
                  </a:cubicBezTo>
                  <a:cubicBezTo>
                    <a:pt x="3600825" y="2308717"/>
                    <a:pt x="3602310" y="2305003"/>
                    <a:pt x="3603053" y="2301290"/>
                  </a:cubicBezTo>
                  <a:lnTo>
                    <a:pt x="3605281" y="2289413"/>
                  </a:lnTo>
                  <a:cubicBezTo>
                    <a:pt x="3605281" y="2285699"/>
                    <a:pt x="3606024" y="2282728"/>
                    <a:pt x="3606024" y="2279014"/>
                  </a:cubicBezTo>
                  <a:cubicBezTo>
                    <a:pt x="3606024" y="2264901"/>
                    <a:pt x="3600825" y="2250053"/>
                    <a:pt x="3594147" y="2235947"/>
                  </a:cubicBezTo>
                  <a:cubicBezTo>
                    <a:pt x="3586719" y="2221835"/>
                    <a:pt x="3578548" y="2208465"/>
                    <a:pt x="3568150" y="2195845"/>
                  </a:cubicBezTo>
                  <a:cubicBezTo>
                    <a:pt x="3548102" y="2170591"/>
                    <a:pt x="3525826" y="2147572"/>
                    <a:pt x="3502065" y="2125296"/>
                  </a:cubicBezTo>
                  <a:cubicBezTo>
                    <a:pt x="3478296" y="2103020"/>
                    <a:pt x="3453049" y="2082222"/>
                    <a:pt x="3427059" y="2062175"/>
                  </a:cubicBezTo>
                  <a:cubicBezTo>
                    <a:pt x="3401069" y="2042127"/>
                    <a:pt x="3375079" y="2022822"/>
                    <a:pt x="3347604" y="2004253"/>
                  </a:cubicBezTo>
                  <a:cubicBezTo>
                    <a:pt x="3334234" y="1995347"/>
                    <a:pt x="3320871" y="1985691"/>
                    <a:pt x="3306759" y="1976777"/>
                  </a:cubicBezTo>
                  <a:cubicBezTo>
                    <a:pt x="3300074" y="1972321"/>
                    <a:pt x="3293396" y="1967871"/>
                    <a:pt x="3285968" y="1962672"/>
                  </a:cubicBezTo>
                  <a:cubicBezTo>
                    <a:pt x="3278541" y="1957473"/>
                    <a:pt x="3272598" y="1953016"/>
                    <a:pt x="3265913" y="1947816"/>
                  </a:cubicBezTo>
                  <a:cubicBezTo>
                    <a:pt x="3213934" y="1906978"/>
                    <a:pt x="3163440" y="1865390"/>
                    <a:pt x="3112946" y="1823067"/>
                  </a:cubicBezTo>
                  <a:cubicBezTo>
                    <a:pt x="3062451" y="1780736"/>
                    <a:pt x="3012693" y="1737662"/>
                    <a:pt x="2965170" y="1692368"/>
                  </a:cubicBezTo>
                  <a:cubicBezTo>
                    <a:pt x="2953285" y="1680483"/>
                    <a:pt x="2941408" y="1669349"/>
                    <a:pt x="2930267" y="1656722"/>
                  </a:cubicBezTo>
                  <a:cubicBezTo>
                    <a:pt x="2919125" y="1644845"/>
                    <a:pt x="2907991" y="1630732"/>
                    <a:pt x="2899077" y="1617369"/>
                  </a:cubicBezTo>
                  <a:cubicBezTo>
                    <a:pt x="2880516" y="1589894"/>
                    <a:pt x="2864174" y="1560926"/>
                    <a:pt x="2850812" y="1530479"/>
                  </a:cubicBezTo>
                  <a:cubicBezTo>
                    <a:pt x="2837442" y="1500033"/>
                    <a:pt x="2826300" y="1468843"/>
                    <a:pt x="2818880" y="1436911"/>
                  </a:cubicBezTo>
                  <a:cubicBezTo>
                    <a:pt x="2811452" y="1404987"/>
                    <a:pt x="2808481" y="1371569"/>
                    <a:pt x="2810709" y="1338895"/>
                  </a:cubicBezTo>
                  <a:cubicBezTo>
                    <a:pt x="2809966" y="1404987"/>
                    <a:pt x="2830757" y="1468843"/>
                    <a:pt x="2859718" y="1526773"/>
                  </a:cubicBezTo>
                  <a:cubicBezTo>
                    <a:pt x="2874573" y="1555734"/>
                    <a:pt x="2891650" y="1583952"/>
                    <a:pt x="2910962" y="1609942"/>
                  </a:cubicBezTo>
                  <a:cubicBezTo>
                    <a:pt x="2920611" y="1623304"/>
                    <a:pt x="2931010" y="1635189"/>
                    <a:pt x="2942887" y="1646330"/>
                  </a:cubicBezTo>
                  <a:cubicBezTo>
                    <a:pt x="2954028" y="1658207"/>
                    <a:pt x="2966655" y="1668606"/>
                    <a:pt x="2978532" y="1679740"/>
                  </a:cubicBezTo>
                  <a:cubicBezTo>
                    <a:pt x="3026063" y="1724300"/>
                    <a:pt x="3075814" y="1768116"/>
                    <a:pt x="3125565" y="1810440"/>
                  </a:cubicBezTo>
                  <a:cubicBezTo>
                    <a:pt x="3176067" y="1852771"/>
                    <a:pt x="3226561" y="1895094"/>
                    <a:pt x="3277798" y="1935197"/>
                  </a:cubicBezTo>
                  <a:cubicBezTo>
                    <a:pt x="3278541" y="1935939"/>
                    <a:pt x="3279283" y="1936675"/>
                    <a:pt x="3280769" y="1937418"/>
                  </a:cubicBezTo>
                  <a:cubicBezTo>
                    <a:pt x="3291910" y="1931483"/>
                    <a:pt x="3303787" y="1926283"/>
                    <a:pt x="3315672" y="1920341"/>
                  </a:cubicBezTo>
                  <a:cubicBezTo>
                    <a:pt x="3255522" y="1830487"/>
                    <a:pt x="3069872" y="1554248"/>
                    <a:pt x="3086213" y="1560183"/>
                  </a:cubicBezTo>
                  <a:cubicBezTo>
                    <a:pt x="3162697" y="1590629"/>
                    <a:pt x="3282997" y="1739155"/>
                    <a:pt x="3394384" y="1888416"/>
                  </a:cubicBezTo>
                  <a:cubicBezTo>
                    <a:pt x="3467904" y="1863162"/>
                    <a:pt x="3545874" y="1848314"/>
                    <a:pt x="3626814" y="1843857"/>
                  </a:cubicBezTo>
                  <a:cubicBezTo>
                    <a:pt x="3646127" y="1843114"/>
                    <a:pt x="3666174" y="1842364"/>
                    <a:pt x="3685479" y="1843107"/>
                  </a:cubicBezTo>
                  <a:cubicBezTo>
                    <a:pt x="3683250" y="1839401"/>
                    <a:pt x="3681030" y="1835687"/>
                    <a:pt x="3678801" y="1831230"/>
                  </a:cubicBezTo>
                  <a:cubicBezTo>
                    <a:pt x="3646127" y="1771823"/>
                    <a:pt x="3610481" y="1714644"/>
                    <a:pt x="3577063" y="1655979"/>
                  </a:cubicBezTo>
                  <a:cubicBezTo>
                    <a:pt x="3508742" y="1539393"/>
                    <a:pt x="3435972" y="1425777"/>
                    <a:pt x="3354289" y="1318097"/>
                  </a:cubicBezTo>
                  <a:cubicBezTo>
                    <a:pt x="3313444" y="1264632"/>
                    <a:pt x="3271113" y="1211909"/>
                    <a:pt x="3219876" y="1168835"/>
                  </a:cubicBezTo>
                  <a:cubicBezTo>
                    <a:pt x="3169382" y="1125026"/>
                    <a:pt x="3111460" y="1090866"/>
                    <a:pt x="3048339" y="1069333"/>
                  </a:cubicBezTo>
                  <a:cubicBezTo>
                    <a:pt x="2985217" y="1048542"/>
                    <a:pt x="2917639" y="1041858"/>
                    <a:pt x="2852297" y="1052999"/>
                  </a:cubicBezTo>
                  <a:cubicBezTo>
                    <a:pt x="2836699" y="1055970"/>
                    <a:pt x="2819623" y="1060420"/>
                    <a:pt x="2802539" y="1063391"/>
                  </a:cubicBezTo>
                  <a:cubicBezTo>
                    <a:pt x="2786205" y="1066362"/>
                    <a:pt x="2769121" y="1069333"/>
                    <a:pt x="2752787" y="1073047"/>
                  </a:cubicBezTo>
                  <a:cubicBezTo>
                    <a:pt x="2719370" y="1078989"/>
                    <a:pt x="2685952" y="1084189"/>
                    <a:pt x="2652535" y="1089380"/>
                  </a:cubicBezTo>
                  <a:cubicBezTo>
                    <a:pt x="2518872" y="1110178"/>
                    <a:pt x="2383716" y="1127255"/>
                    <a:pt x="2248567" y="1138396"/>
                  </a:cubicBezTo>
                  <a:cubicBezTo>
                    <a:pt x="2231484" y="1139882"/>
                    <a:pt x="2214407" y="1141368"/>
                    <a:pt x="2198073" y="1142110"/>
                  </a:cubicBezTo>
                  <a:lnTo>
                    <a:pt x="2172819" y="1143588"/>
                  </a:lnTo>
                  <a:lnTo>
                    <a:pt x="2147572" y="1144331"/>
                  </a:lnTo>
                  <a:cubicBezTo>
                    <a:pt x="2131238" y="1145074"/>
                    <a:pt x="2112676" y="1145074"/>
                    <a:pt x="2095592" y="1142846"/>
                  </a:cubicBezTo>
                  <a:cubicBezTo>
                    <a:pt x="2078516" y="1140617"/>
                    <a:pt x="2061432" y="1137654"/>
                    <a:pt x="2044355" y="1133197"/>
                  </a:cubicBezTo>
                  <a:cubicBezTo>
                    <a:pt x="2035442" y="1130969"/>
                    <a:pt x="2027271" y="1128740"/>
                    <a:pt x="2018366" y="1126512"/>
                  </a:cubicBezTo>
                  <a:cubicBezTo>
                    <a:pt x="1857963" y="1097551"/>
                    <a:pt x="1733206" y="1006954"/>
                    <a:pt x="1643352" y="973537"/>
                  </a:cubicBezTo>
                  <a:cubicBezTo>
                    <a:pt x="1612905" y="962403"/>
                    <a:pt x="1428748" y="855465"/>
                    <a:pt x="1177749" y="706949"/>
                  </a:cubicBezTo>
                  <a:cubicBezTo>
                    <a:pt x="1163643" y="698780"/>
                    <a:pt x="1148788" y="690610"/>
                    <a:pt x="1134675" y="682441"/>
                  </a:cubicBezTo>
                  <a:cubicBezTo>
                    <a:pt x="1139875" y="685411"/>
                    <a:pt x="1145074" y="688383"/>
                    <a:pt x="1150273" y="690610"/>
                  </a:cubicBezTo>
                  <a:cubicBezTo>
                    <a:pt x="811648" y="489368"/>
                    <a:pt x="360899" y="218322"/>
                    <a:pt x="0" y="0"/>
                  </a:cubicBezTo>
                  <a:lnTo>
                    <a:pt x="0" y="1361913"/>
                  </a:lnTo>
                  <a:cubicBezTo>
                    <a:pt x="522042" y="1518602"/>
                    <a:pt x="1182948" y="1719100"/>
                    <a:pt x="1290621" y="1764395"/>
                  </a:cubicBezTo>
                  <a:cubicBezTo>
                    <a:pt x="1473300" y="1840143"/>
                    <a:pt x="1589144" y="1886181"/>
                    <a:pt x="1811925" y="1969350"/>
                  </a:cubicBezTo>
                  <a:close/>
                </a:path>
              </a:pathLst>
            </a:custGeom>
            <a:solidFill>
              <a:srgbClr val="1E2B3C"/>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ihåndsform: figur 15">
              <a:extLst>
                <a:ext uri="{FF2B5EF4-FFF2-40B4-BE49-F238E27FC236}">
                  <a16:creationId xmlns:a16="http://schemas.microsoft.com/office/drawing/2014/main" id="{F82D3587-E59B-4EB7-0584-A2C6B9BEFFA1}"/>
                </a:ext>
              </a:extLst>
            </p:cNvPr>
            <p:cNvSpPr/>
            <p:nvPr/>
          </p:nvSpPr>
          <p:spPr>
            <a:xfrm>
              <a:off x="6318734" y="2377571"/>
              <a:ext cx="2563430" cy="1161410"/>
            </a:xfrm>
            <a:custGeom>
              <a:avLst/>
              <a:gdLst>
                <a:gd name="connsiteX0" fmla="*/ 2563431 w 2563430"/>
                <a:gd name="connsiteY0" fmla="*/ 1159925 h 1161410"/>
                <a:gd name="connsiteX1" fmla="*/ 2555260 w 2563430"/>
                <a:gd name="connsiteY1" fmla="*/ 1142849 h 1161410"/>
                <a:gd name="connsiteX2" fmla="*/ 2509223 w 2563430"/>
                <a:gd name="connsiteY2" fmla="*/ 1052252 h 1161410"/>
                <a:gd name="connsiteX3" fmla="*/ 2484719 w 2563430"/>
                <a:gd name="connsiteY3" fmla="*/ 1007700 h 1161410"/>
                <a:gd name="connsiteX4" fmla="*/ 2458729 w 2563430"/>
                <a:gd name="connsiteY4" fmla="*/ 963884 h 1161410"/>
                <a:gd name="connsiteX5" fmla="*/ 2234462 w 2563430"/>
                <a:gd name="connsiteY5" fmla="*/ 623773 h 1161410"/>
                <a:gd name="connsiteX6" fmla="*/ 2203273 w 2563430"/>
                <a:gd name="connsiteY6" fmla="*/ 583678 h 1161410"/>
                <a:gd name="connsiteX7" fmla="*/ 2170598 w 2563430"/>
                <a:gd name="connsiteY7" fmla="*/ 544318 h 1161410"/>
                <a:gd name="connsiteX8" fmla="*/ 2097828 w 2563430"/>
                <a:gd name="connsiteY8" fmla="*/ 471548 h 1161410"/>
                <a:gd name="connsiteX9" fmla="*/ 1919606 w 2563430"/>
                <a:gd name="connsiteY9" fmla="*/ 369067 h 1161410"/>
                <a:gd name="connsiteX10" fmla="*/ 1714651 w 2563430"/>
                <a:gd name="connsiteY10" fmla="*/ 352733 h 1161410"/>
                <a:gd name="connsiteX11" fmla="*/ 1664892 w 2563430"/>
                <a:gd name="connsiteY11" fmla="*/ 363125 h 1161410"/>
                <a:gd name="connsiteX12" fmla="*/ 1615141 w 2563430"/>
                <a:gd name="connsiteY12" fmla="*/ 372038 h 1161410"/>
                <a:gd name="connsiteX13" fmla="*/ 1514888 w 2563430"/>
                <a:gd name="connsiteY13" fmla="*/ 388379 h 1161410"/>
                <a:gd name="connsiteX14" fmla="*/ 1112407 w 2563430"/>
                <a:gd name="connsiteY14" fmla="*/ 437388 h 1161410"/>
                <a:gd name="connsiteX15" fmla="*/ 1061913 w 2563430"/>
                <a:gd name="connsiteY15" fmla="*/ 441102 h 1161410"/>
                <a:gd name="connsiteX16" fmla="*/ 1036666 w 2563430"/>
                <a:gd name="connsiteY16" fmla="*/ 442587 h 1161410"/>
                <a:gd name="connsiteX17" fmla="*/ 1011411 w 2563430"/>
                <a:gd name="connsiteY17" fmla="*/ 443330 h 1161410"/>
                <a:gd name="connsiteX18" fmla="*/ 962403 w 2563430"/>
                <a:gd name="connsiteY18" fmla="*/ 441844 h 1161410"/>
                <a:gd name="connsiteX19" fmla="*/ 913394 w 2563430"/>
                <a:gd name="connsiteY19" fmla="*/ 432931 h 1161410"/>
                <a:gd name="connsiteX20" fmla="*/ 723287 w 2563430"/>
                <a:gd name="connsiteY20" fmla="*/ 366096 h 1161410"/>
                <a:gd name="connsiteX21" fmla="*/ 631205 w 2563430"/>
                <a:gd name="connsiteY21" fmla="*/ 325258 h 1161410"/>
                <a:gd name="connsiteX22" fmla="*/ 539123 w 2563430"/>
                <a:gd name="connsiteY22" fmla="*/ 282184 h 1161410"/>
                <a:gd name="connsiteX23" fmla="*/ 357930 w 2563430"/>
                <a:gd name="connsiteY23" fmla="*/ 191588 h 1161410"/>
                <a:gd name="connsiteX24" fmla="*/ 15598 w 2563430"/>
                <a:gd name="connsiteY24" fmla="*/ 8169 h 1161410"/>
                <a:gd name="connsiteX25" fmla="*/ 0 w 2563430"/>
                <a:gd name="connsiteY25" fmla="*/ 0 h 1161410"/>
                <a:gd name="connsiteX26" fmla="*/ 43074 w 2563430"/>
                <a:gd name="connsiteY26" fmla="*/ 24507 h 1161410"/>
                <a:gd name="connsiteX27" fmla="*/ 175258 w 2563430"/>
                <a:gd name="connsiteY27" fmla="*/ 101734 h 1161410"/>
                <a:gd name="connsiteX28" fmla="*/ 351995 w 2563430"/>
                <a:gd name="connsiteY28" fmla="*/ 201244 h 1161410"/>
                <a:gd name="connsiteX29" fmla="*/ 531703 w 2563430"/>
                <a:gd name="connsiteY29" fmla="*/ 297040 h 1161410"/>
                <a:gd name="connsiteX30" fmla="*/ 623042 w 2563430"/>
                <a:gd name="connsiteY30" fmla="*/ 342335 h 1161410"/>
                <a:gd name="connsiteX31" fmla="*/ 715860 w 2563430"/>
                <a:gd name="connsiteY31" fmla="*/ 383923 h 1161410"/>
                <a:gd name="connsiteX32" fmla="*/ 882948 w 2563430"/>
                <a:gd name="connsiteY32" fmla="*/ 444808 h 1161410"/>
                <a:gd name="connsiteX33" fmla="*/ 908938 w 2563430"/>
                <a:gd name="connsiteY33" fmla="*/ 451501 h 1161410"/>
                <a:gd name="connsiteX34" fmla="*/ 960174 w 2563430"/>
                <a:gd name="connsiteY34" fmla="*/ 461149 h 1161410"/>
                <a:gd name="connsiteX35" fmla="*/ 1012154 w 2563430"/>
                <a:gd name="connsiteY35" fmla="*/ 462635 h 1161410"/>
                <a:gd name="connsiteX36" fmla="*/ 1037401 w 2563430"/>
                <a:gd name="connsiteY36" fmla="*/ 461892 h 1161410"/>
                <a:gd name="connsiteX37" fmla="*/ 1062655 w 2563430"/>
                <a:gd name="connsiteY37" fmla="*/ 460406 h 1161410"/>
                <a:gd name="connsiteX38" fmla="*/ 1113149 w 2563430"/>
                <a:gd name="connsiteY38" fmla="*/ 456693 h 1161410"/>
                <a:gd name="connsiteX39" fmla="*/ 1517117 w 2563430"/>
                <a:gd name="connsiteY39" fmla="*/ 407684 h 1161410"/>
                <a:gd name="connsiteX40" fmla="*/ 1617369 w 2563430"/>
                <a:gd name="connsiteY40" fmla="*/ 391350 h 1161410"/>
                <a:gd name="connsiteX41" fmla="*/ 1667121 w 2563430"/>
                <a:gd name="connsiteY41" fmla="*/ 381694 h 1161410"/>
                <a:gd name="connsiteX42" fmla="*/ 1716872 w 2563430"/>
                <a:gd name="connsiteY42" fmla="*/ 371295 h 1161410"/>
                <a:gd name="connsiteX43" fmla="*/ 1912921 w 2563430"/>
                <a:gd name="connsiteY43" fmla="*/ 387637 h 1161410"/>
                <a:gd name="connsiteX44" fmla="*/ 2084458 w 2563430"/>
                <a:gd name="connsiteY44" fmla="*/ 487139 h 1161410"/>
                <a:gd name="connsiteX45" fmla="*/ 2218871 w 2563430"/>
                <a:gd name="connsiteY45" fmla="*/ 636400 h 1161410"/>
                <a:gd name="connsiteX46" fmla="*/ 2441645 w 2563430"/>
                <a:gd name="connsiteY46" fmla="*/ 974283 h 1161410"/>
                <a:gd name="connsiteX47" fmla="*/ 2543383 w 2563430"/>
                <a:gd name="connsiteY47" fmla="*/ 1149534 h 1161410"/>
                <a:gd name="connsiteX48" fmla="*/ 2550068 w 2563430"/>
                <a:gd name="connsiteY48" fmla="*/ 1161411 h 1161410"/>
                <a:gd name="connsiteX49" fmla="*/ 2563431 w 2563430"/>
                <a:gd name="connsiteY49" fmla="*/ 1159925 h 11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63430" h="1161410">
                  <a:moveTo>
                    <a:pt x="2563431" y="1159925"/>
                  </a:moveTo>
                  <a:cubicBezTo>
                    <a:pt x="2560460" y="1153983"/>
                    <a:pt x="2558231" y="1148791"/>
                    <a:pt x="2555260" y="1142849"/>
                  </a:cubicBezTo>
                  <a:cubicBezTo>
                    <a:pt x="2540412" y="1112402"/>
                    <a:pt x="2524814" y="1081956"/>
                    <a:pt x="2509223" y="1052252"/>
                  </a:cubicBezTo>
                  <a:cubicBezTo>
                    <a:pt x="2501052" y="1037396"/>
                    <a:pt x="2493625" y="1022548"/>
                    <a:pt x="2484719" y="1007700"/>
                  </a:cubicBezTo>
                  <a:lnTo>
                    <a:pt x="2458729" y="963884"/>
                  </a:lnTo>
                  <a:cubicBezTo>
                    <a:pt x="2389665" y="847297"/>
                    <a:pt x="2316888" y="732196"/>
                    <a:pt x="2234462" y="623773"/>
                  </a:cubicBezTo>
                  <a:lnTo>
                    <a:pt x="2203273" y="583678"/>
                  </a:lnTo>
                  <a:cubicBezTo>
                    <a:pt x="2192131" y="570308"/>
                    <a:pt x="2181740" y="557688"/>
                    <a:pt x="2170598" y="544318"/>
                  </a:cubicBezTo>
                  <a:cubicBezTo>
                    <a:pt x="2148322" y="518328"/>
                    <a:pt x="2123818" y="494567"/>
                    <a:pt x="2097828" y="471548"/>
                  </a:cubicBezTo>
                  <a:cubicBezTo>
                    <a:pt x="2045841" y="426989"/>
                    <a:pt x="1985691" y="390608"/>
                    <a:pt x="1919606" y="369067"/>
                  </a:cubicBezTo>
                  <a:cubicBezTo>
                    <a:pt x="1854256" y="347534"/>
                    <a:pt x="1782964" y="340106"/>
                    <a:pt x="1714651" y="352733"/>
                  </a:cubicBezTo>
                  <a:cubicBezTo>
                    <a:pt x="1697567" y="355705"/>
                    <a:pt x="1681234" y="360154"/>
                    <a:pt x="1664892" y="363125"/>
                  </a:cubicBezTo>
                  <a:cubicBezTo>
                    <a:pt x="1648559" y="366096"/>
                    <a:pt x="1631475" y="369067"/>
                    <a:pt x="1615141" y="372038"/>
                  </a:cubicBezTo>
                  <a:cubicBezTo>
                    <a:pt x="1581724" y="377980"/>
                    <a:pt x="1548306" y="383180"/>
                    <a:pt x="1514888" y="388379"/>
                  </a:cubicBezTo>
                  <a:cubicBezTo>
                    <a:pt x="1381225" y="409170"/>
                    <a:pt x="1246812" y="426246"/>
                    <a:pt x="1112407" y="437388"/>
                  </a:cubicBezTo>
                  <a:cubicBezTo>
                    <a:pt x="1095330" y="438873"/>
                    <a:pt x="1078989" y="440359"/>
                    <a:pt x="1061913" y="441102"/>
                  </a:cubicBezTo>
                  <a:lnTo>
                    <a:pt x="1036666" y="442587"/>
                  </a:lnTo>
                  <a:lnTo>
                    <a:pt x="1011411" y="443330"/>
                  </a:lnTo>
                  <a:cubicBezTo>
                    <a:pt x="994335" y="444073"/>
                    <a:pt x="978744" y="444073"/>
                    <a:pt x="962403" y="441844"/>
                  </a:cubicBezTo>
                  <a:cubicBezTo>
                    <a:pt x="946069" y="439616"/>
                    <a:pt x="929728" y="436645"/>
                    <a:pt x="913394" y="432931"/>
                  </a:cubicBezTo>
                  <a:cubicBezTo>
                    <a:pt x="848787" y="416597"/>
                    <a:pt x="785666" y="392093"/>
                    <a:pt x="723287" y="366096"/>
                  </a:cubicBezTo>
                  <a:cubicBezTo>
                    <a:pt x="692098" y="352733"/>
                    <a:pt x="661652" y="338621"/>
                    <a:pt x="631205" y="325258"/>
                  </a:cubicBezTo>
                  <a:cubicBezTo>
                    <a:pt x="600759" y="311145"/>
                    <a:pt x="569570" y="297040"/>
                    <a:pt x="539123" y="282184"/>
                  </a:cubicBezTo>
                  <a:cubicBezTo>
                    <a:pt x="478230" y="253223"/>
                    <a:pt x="418080" y="222777"/>
                    <a:pt x="357930" y="191588"/>
                  </a:cubicBezTo>
                  <a:cubicBezTo>
                    <a:pt x="242829" y="132180"/>
                    <a:pt x="129956" y="69059"/>
                    <a:pt x="15598" y="8169"/>
                  </a:cubicBezTo>
                  <a:cubicBezTo>
                    <a:pt x="10399" y="5199"/>
                    <a:pt x="5199" y="2228"/>
                    <a:pt x="0" y="0"/>
                  </a:cubicBezTo>
                  <a:cubicBezTo>
                    <a:pt x="14113" y="8168"/>
                    <a:pt x="28968" y="16339"/>
                    <a:pt x="43074" y="24507"/>
                  </a:cubicBezTo>
                  <a:cubicBezTo>
                    <a:pt x="87633" y="49754"/>
                    <a:pt x="131442" y="76487"/>
                    <a:pt x="175258" y="101734"/>
                  </a:cubicBezTo>
                  <a:cubicBezTo>
                    <a:pt x="233923" y="135151"/>
                    <a:pt x="292588" y="168569"/>
                    <a:pt x="351995" y="201244"/>
                  </a:cubicBezTo>
                  <a:cubicBezTo>
                    <a:pt x="411402" y="233919"/>
                    <a:pt x="470810" y="265851"/>
                    <a:pt x="531703" y="297040"/>
                  </a:cubicBezTo>
                  <a:cubicBezTo>
                    <a:pt x="562149" y="312631"/>
                    <a:pt x="592596" y="327486"/>
                    <a:pt x="623042" y="342335"/>
                  </a:cubicBezTo>
                  <a:cubicBezTo>
                    <a:pt x="653489" y="357190"/>
                    <a:pt x="684678" y="370553"/>
                    <a:pt x="715860" y="383923"/>
                  </a:cubicBezTo>
                  <a:cubicBezTo>
                    <a:pt x="770075" y="406941"/>
                    <a:pt x="825769" y="428474"/>
                    <a:pt x="882948" y="444808"/>
                  </a:cubicBezTo>
                  <a:cubicBezTo>
                    <a:pt x="891118" y="447036"/>
                    <a:pt x="900024" y="449272"/>
                    <a:pt x="908938" y="451501"/>
                  </a:cubicBezTo>
                  <a:cubicBezTo>
                    <a:pt x="925271" y="455207"/>
                    <a:pt x="942355" y="458921"/>
                    <a:pt x="960174" y="461149"/>
                  </a:cubicBezTo>
                  <a:cubicBezTo>
                    <a:pt x="977258" y="463378"/>
                    <a:pt x="995820" y="463378"/>
                    <a:pt x="1012154" y="462635"/>
                  </a:cubicBezTo>
                  <a:lnTo>
                    <a:pt x="1037401" y="461892"/>
                  </a:lnTo>
                  <a:lnTo>
                    <a:pt x="1062655" y="460406"/>
                  </a:lnTo>
                  <a:cubicBezTo>
                    <a:pt x="1079732" y="459664"/>
                    <a:pt x="1096816" y="458178"/>
                    <a:pt x="1113149" y="456693"/>
                  </a:cubicBezTo>
                  <a:cubicBezTo>
                    <a:pt x="1248298" y="445558"/>
                    <a:pt x="1382711" y="428474"/>
                    <a:pt x="1517117" y="407684"/>
                  </a:cubicBezTo>
                  <a:cubicBezTo>
                    <a:pt x="1550534" y="402485"/>
                    <a:pt x="1583952" y="397285"/>
                    <a:pt x="1617369" y="391350"/>
                  </a:cubicBezTo>
                  <a:cubicBezTo>
                    <a:pt x="1633703" y="388379"/>
                    <a:pt x="1650787" y="385401"/>
                    <a:pt x="1667121" y="381694"/>
                  </a:cubicBezTo>
                  <a:cubicBezTo>
                    <a:pt x="1683462" y="378723"/>
                    <a:pt x="1700538" y="374267"/>
                    <a:pt x="1716872" y="371295"/>
                  </a:cubicBezTo>
                  <a:cubicBezTo>
                    <a:pt x="1782221" y="360154"/>
                    <a:pt x="1849800" y="366839"/>
                    <a:pt x="1912921" y="387637"/>
                  </a:cubicBezTo>
                  <a:cubicBezTo>
                    <a:pt x="1976042" y="408427"/>
                    <a:pt x="2033964" y="443330"/>
                    <a:pt x="2084458" y="487139"/>
                  </a:cubicBezTo>
                  <a:cubicBezTo>
                    <a:pt x="2135695" y="530213"/>
                    <a:pt x="2178026" y="582192"/>
                    <a:pt x="2218871" y="636400"/>
                  </a:cubicBezTo>
                  <a:cubicBezTo>
                    <a:pt x="2300554" y="744081"/>
                    <a:pt x="2372582" y="858439"/>
                    <a:pt x="2441645" y="974283"/>
                  </a:cubicBezTo>
                  <a:cubicBezTo>
                    <a:pt x="2475063" y="1032947"/>
                    <a:pt x="2510709" y="1090869"/>
                    <a:pt x="2543383" y="1149534"/>
                  </a:cubicBezTo>
                  <a:cubicBezTo>
                    <a:pt x="2545604" y="1153248"/>
                    <a:pt x="2547840" y="1156954"/>
                    <a:pt x="2550068" y="1161411"/>
                  </a:cubicBezTo>
                  <a:cubicBezTo>
                    <a:pt x="2555260" y="1159925"/>
                    <a:pt x="2559717" y="1159925"/>
                    <a:pt x="2563431" y="1159925"/>
                  </a:cubicBezTo>
                  <a:close/>
                </a:path>
              </a:pathLst>
            </a:custGeom>
            <a:solidFill>
              <a:srgbClr val="EDCFC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ihåndsform: figur 16">
              <a:extLst>
                <a:ext uri="{FF2B5EF4-FFF2-40B4-BE49-F238E27FC236}">
                  <a16:creationId xmlns:a16="http://schemas.microsoft.com/office/drawing/2014/main" id="{9C897C4D-46BC-75A8-6191-426A3630DDE3}"/>
                </a:ext>
              </a:extLst>
            </p:cNvPr>
            <p:cNvSpPr/>
            <p:nvPr/>
          </p:nvSpPr>
          <p:spPr>
            <a:xfrm>
              <a:off x="7129639" y="3031055"/>
              <a:ext cx="1681541" cy="1093664"/>
            </a:xfrm>
            <a:custGeom>
              <a:avLst/>
              <a:gdLst>
                <a:gd name="connsiteX0" fmla="*/ 720317 w 1681541"/>
                <a:gd name="connsiteY0" fmla="*/ 683185 h 1093664"/>
                <a:gd name="connsiteX1" fmla="*/ 742592 w 1681541"/>
                <a:gd name="connsiteY1" fmla="*/ 689870 h 1093664"/>
                <a:gd name="connsiteX2" fmla="*/ 764876 w 1681541"/>
                <a:gd name="connsiteY2" fmla="*/ 699519 h 1093664"/>
                <a:gd name="connsiteX3" fmla="*/ 937898 w 1681541"/>
                <a:gd name="connsiteY3" fmla="*/ 793094 h 1093664"/>
                <a:gd name="connsiteX4" fmla="*/ 962403 w 1681541"/>
                <a:gd name="connsiteY4" fmla="*/ 807199 h 1093664"/>
                <a:gd name="connsiteX5" fmla="*/ 1038887 w 1681541"/>
                <a:gd name="connsiteY5" fmla="*/ 851008 h 1093664"/>
                <a:gd name="connsiteX6" fmla="*/ 1108693 w 1681541"/>
                <a:gd name="connsiteY6" fmla="*/ 891111 h 1093664"/>
                <a:gd name="connsiteX7" fmla="*/ 1280230 w 1681541"/>
                <a:gd name="connsiteY7" fmla="*/ 989128 h 1093664"/>
                <a:gd name="connsiteX8" fmla="*/ 1367113 w 1681541"/>
                <a:gd name="connsiteY8" fmla="*/ 1035923 h 1093664"/>
                <a:gd name="connsiteX9" fmla="*/ 1457709 w 1681541"/>
                <a:gd name="connsiteY9" fmla="*/ 1078239 h 1093664"/>
                <a:gd name="connsiteX10" fmla="*/ 1558705 w 1681541"/>
                <a:gd name="connsiteY10" fmla="*/ 1092352 h 1093664"/>
                <a:gd name="connsiteX11" fmla="*/ 1647073 w 1681541"/>
                <a:gd name="connsiteY11" fmla="*/ 1039629 h 1093664"/>
                <a:gd name="connsiteX12" fmla="*/ 1670835 w 1681541"/>
                <a:gd name="connsiteY12" fmla="*/ 993592 h 1093664"/>
                <a:gd name="connsiteX13" fmla="*/ 1674548 w 1681541"/>
                <a:gd name="connsiteY13" fmla="*/ 980965 h 1093664"/>
                <a:gd name="connsiteX14" fmla="*/ 1677520 w 1681541"/>
                <a:gd name="connsiteY14" fmla="*/ 968337 h 1093664"/>
                <a:gd name="connsiteX15" fmla="*/ 1680491 w 1681541"/>
                <a:gd name="connsiteY15" fmla="*/ 955710 h 1093664"/>
                <a:gd name="connsiteX16" fmla="*/ 1681234 w 1681541"/>
                <a:gd name="connsiteY16" fmla="*/ 941612 h 1093664"/>
                <a:gd name="connsiteX17" fmla="*/ 1667121 w 1681541"/>
                <a:gd name="connsiteY17" fmla="*/ 890368 h 1093664"/>
                <a:gd name="connsiteX18" fmla="*/ 1639646 w 1681541"/>
                <a:gd name="connsiteY18" fmla="*/ 847302 h 1093664"/>
                <a:gd name="connsiteX19" fmla="*/ 1571325 w 1681541"/>
                <a:gd name="connsiteY19" fmla="*/ 774524 h 1093664"/>
                <a:gd name="connsiteX20" fmla="*/ 1495584 w 1681541"/>
                <a:gd name="connsiteY20" fmla="*/ 710660 h 1093664"/>
                <a:gd name="connsiteX21" fmla="*/ 1415386 w 1681541"/>
                <a:gd name="connsiteY21" fmla="*/ 651996 h 1093664"/>
                <a:gd name="connsiteX22" fmla="*/ 1374541 w 1681541"/>
                <a:gd name="connsiteY22" fmla="*/ 624520 h 1093664"/>
                <a:gd name="connsiteX23" fmla="*/ 1354493 w 1681541"/>
                <a:gd name="connsiteY23" fmla="*/ 611158 h 1093664"/>
                <a:gd name="connsiteX24" fmla="*/ 1338152 w 1681541"/>
                <a:gd name="connsiteY24" fmla="*/ 598531 h 1093664"/>
                <a:gd name="connsiteX25" fmla="*/ 1335181 w 1681541"/>
                <a:gd name="connsiteY25" fmla="*/ 596302 h 1093664"/>
                <a:gd name="connsiteX26" fmla="*/ 1182948 w 1681541"/>
                <a:gd name="connsiteY26" fmla="*/ 471553 h 1093664"/>
                <a:gd name="connsiteX27" fmla="*/ 1035916 w 1681541"/>
                <a:gd name="connsiteY27" fmla="*/ 340846 h 1093664"/>
                <a:gd name="connsiteX28" fmla="*/ 1000277 w 1681541"/>
                <a:gd name="connsiteY28" fmla="*/ 307436 h 1093664"/>
                <a:gd name="connsiteX29" fmla="*/ 968345 w 1681541"/>
                <a:gd name="connsiteY29" fmla="*/ 271047 h 1093664"/>
                <a:gd name="connsiteX30" fmla="*/ 917101 w 1681541"/>
                <a:gd name="connsiteY30" fmla="*/ 187878 h 1093664"/>
                <a:gd name="connsiteX31" fmla="*/ 868092 w 1681541"/>
                <a:gd name="connsiteY31" fmla="*/ 0 h 1093664"/>
                <a:gd name="connsiteX32" fmla="*/ 876263 w 1681541"/>
                <a:gd name="connsiteY32" fmla="*/ 98024 h 1093664"/>
                <a:gd name="connsiteX33" fmla="*/ 908195 w 1681541"/>
                <a:gd name="connsiteY33" fmla="*/ 191592 h 1093664"/>
                <a:gd name="connsiteX34" fmla="*/ 956460 w 1681541"/>
                <a:gd name="connsiteY34" fmla="*/ 278475 h 1093664"/>
                <a:gd name="connsiteX35" fmla="*/ 987650 w 1681541"/>
                <a:gd name="connsiteY35" fmla="*/ 317835 h 1093664"/>
                <a:gd name="connsiteX36" fmla="*/ 1022553 w 1681541"/>
                <a:gd name="connsiteY36" fmla="*/ 353473 h 1093664"/>
                <a:gd name="connsiteX37" fmla="*/ 1170329 w 1681541"/>
                <a:gd name="connsiteY37" fmla="*/ 484165 h 1093664"/>
                <a:gd name="connsiteX38" fmla="*/ 1323304 w 1681541"/>
                <a:gd name="connsiteY38" fmla="*/ 608929 h 1093664"/>
                <a:gd name="connsiteX39" fmla="*/ 1343351 w 1681541"/>
                <a:gd name="connsiteY39" fmla="*/ 623777 h 1093664"/>
                <a:gd name="connsiteX40" fmla="*/ 1364142 w 1681541"/>
                <a:gd name="connsiteY40" fmla="*/ 637883 h 1093664"/>
                <a:gd name="connsiteX41" fmla="*/ 1404987 w 1681541"/>
                <a:gd name="connsiteY41" fmla="*/ 665366 h 1093664"/>
                <a:gd name="connsiteX42" fmla="*/ 1484442 w 1681541"/>
                <a:gd name="connsiteY42" fmla="*/ 723287 h 1093664"/>
                <a:gd name="connsiteX43" fmla="*/ 1559448 w 1681541"/>
                <a:gd name="connsiteY43" fmla="*/ 786401 h 1093664"/>
                <a:gd name="connsiteX44" fmla="*/ 1625540 w 1681541"/>
                <a:gd name="connsiteY44" fmla="*/ 856950 h 1093664"/>
                <a:gd name="connsiteX45" fmla="*/ 1651530 w 1681541"/>
                <a:gd name="connsiteY45" fmla="*/ 897053 h 1093664"/>
                <a:gd name="connsiteX46" fmla="*/ 1663407 w 1681541"/>
                <a:gd name="connsiteY46" fmla="*/ 940119 h 1093664"/>
                <a:gd name="connsiteX47" fmla="*/ 1662664 w 1681541"/>
                <a:gd name="connsiteY47" fmla="*/ 950518 h 1093664"/>
                <a:gd name="connsiteX48" fmla="*/ 1660436 w 1681541"/>
                <a:gd name="connsiteY48" fmla="*/ 962403 h 1093664"/>
                <a:gd name="connsiteX49" fmla="*/ 1657472 w 1681541"/>
                <a:gd name="connsiteY49" fmla="*/ 973537 h 1093664"/>
                <a:gd name="connsiteX50" fmla="*/ 1653758 w 1681541"/>
                <a:gd name="connsiteY50" fmla="*/ 984679 h 1093664"/>
                <a:gd name="connsiteX51" fmla="*/ 1632960 w 1681541"/>
                <a:gd name="connsiteY51" fmla="*/ 1026259 h 1093664"/>
                <a:gd name="connsiteX52" fmla="*/ 1557219 w 1681541"/>
                <a:gd name="connsiteY52" fmla="*/ 1071561 h 1093664"/>
                <a:gd name="connsiteX53" fmla="*/ 1464394 w 1681541"/>
                <a:gd name="connsiteY53" fmla="*/ 1058199 h 1093664"/>
                <a:gd name="connsiteX54" fmla="*/ 1376026 w 1681541"/>
                <a:gd name="connsiteY54" fmla="*/ 1017353 h 1093664"/>
                <a:gd name="connsiteX55" fmla="*/ 1289143 w 1681541"/>
                <a:gd name="connsiteY55" fmla="*/ 970566 h 1093664"/>
                <a:gd name="connsiteX56" fmla="*/ 1117606 w 1681541"/>
                <a:gd name="connsiteY56" fmla="*/ 872549 h 1093664"/>
                <a:gd name="connsiteX57" fmla="*/ 946804 w 1681541"/>
                <a:gd name="connsiteY57" fmla="*/ 773782 h 1093664"/>
                <a:gd name="connsiteX58" fmla="*/ 773039 w 1681541"/>
                <a:gd name="connsiteY58" fmla="*/ 679479 h 1093664"/>
                <a:gd name="connsiteX59" fmla="*/ 750020 w 1681541"/>
                <a:gd name="connsiteY59" fmla="*/ 669079 h 1093664"/>
                <a:gd name="connsiteX60" fmla="*/ 724773 w 1681541"/>
                <a:gd name="connsiteY60" fmla="*/ 661652 h 1093664"/>
                <a:gd name="connsiteX61" fmla="*/ 675765 w 1681541"/>
                <a:gd name="connsiteY61" fmla="*/ 652738 h 1093664"/>
                <a:gd name="connsiteX62" fmla="*/ 576997 w 1681541"/>
                <a:gd name="connsiteY62" fmla="*/ 642347 h 1093664"/>
                <a:gd name="connsiteX63" fmla="*/ 380213 w 1681541"/>
                <a:gd name="connsiteY63" fmla="*/ 627491 h 1093664"/>
                <a:gd name="connsiteX64" fmla="*/ 184164 w 1681541"/>
                <a:gd name="connsiteY64" fmla="*/ 608179 h 1093664"/>
                <a:gd name="connsiteX65" fmla="*/ 0 w 1681541"/>
                <a:gd name="connsiteY65" fmla="*/ 543572 h 1093664"/>
                <a:gd name="connsiteX66" fmla="*/ 87626 w 1681541"/>
                <a:gd name="connsiteY66" fmla="*/ 589617 h 1093664"/>
                <a:gd name="connsiteX67" fmla="*/ 182679 w 1681541"/>
                <a:gd name="connsiteY67" fmla="*/ 618578 h 1093664"/>
                <a:gd name="connsiteX68" fmla="*/ 223524 w 1681541"/>
                <a:gd name="connsiteY68" fmla="*/ 626749 h 1093664"/>
                <a:gd name="connsiteX69" fmla="*/ 378728 w 1681541"/>
                <a:gd name="connsiteY69" fmla="*/ 647539 h 1093664"/>
                <a:gd name="connsiteX70" fmla="*/ 575512 w 1681541"/>
                <a:gd name="connsiteY70" fmla="*/ 662387 h 1093664"/>
                <a:gd name="connsiteX71" fmla="*/ 593331 w 1681541"/>
                <a:gd name="connsiteY71" fmla="*/ 663880 h 1093664"/>
                <a:gd name="connsiteX72" fmla="*/ 672794 w 1681541"/>
                <a:gd name="connsiteY72" fmla="*/ 672786 h 1093664"/>
                <a:gd name="connsiteX73" fmla="*/ 720317 w 1681541"/>
                <a:gd name="connsiteY73" fmla="*/ 683185 h 109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681541" h="1093664">
                  <a:moveTo>
                    <a:pt x="720317" y="683185"/>
                  </a:moveTo>
                  <a:cubicBezTo>
                    <a:pt x="728487" y="684670"/>
                    <a:pt x="735172" y="686899"/>
                    <a:pt x="742592" y="689870"/>
                  </a:cubicBezTo>
                  <a:cubicBezTo>
                    <a:pt x="750020" y="692841"/>
                    <a:pt x="757448" y="695805"/>
                    <a:pt x="764876" y="699519"/>
                  </a:cubicBezTo>
                  <a:cubicBezTo>
                    <a:pt x="823540" y="727737"/>
                    <a:pt x="880719" y="761162"/>
                    <a:pt x="937898" y="793094"/>
                  </a:cubicBezTo>
                  <a:lnTo>
                    <a:pt x="962403" y="807199"/>
                  </a:lnTo>
                  <a:lnTo>
                    <a:pt x="1038887" y="851008"/>
                  </a:lnTo>
                  <a:lnTo>
                    <a:pt x="1108693" y="891111"/>
                  </a:lnTo>
                  <a:cubicBezTo>
                    <a:pt x="1165872" y="923786"/>
                    <a:pt x="1222308" y="957196"/>
                    <a:pt x="1280230" y="989128"/>
                  </a:cubicBezTo>
                  <a:cubicBezTo>
                    <a:pt x="1309191" y="1005469"/>
                    <a:pt x="1338152" y="1021067"/>
                    <a:pt x="1367113" y="1035923"/>
                  </a:cubicBezTo>
                  <a:cubicBezTo>
                    <a:pt x="1396816" y="1050771"/>
                    <a:pt x="1425777" y="1066362"/>
                    <a:pt x="1457709" y="1078239"/>
                  </a:cubicBezTo>
                  <a:cubicBezTo>
                    <a:pt x="1489641" y="1089381"/>
                    <a:pt x="1523802" y="1096808"/>
                    <a:pt x="1558705" y="1092352"/>
                  </a:cubicBezTo>
                  <a:cubicBezTo>
                    <a:pt x="1593608" y="1088638"/>
                    <a:pt x="1627018" y="1068590"/>
                    <a:pt x="1647073" y="1039629"/>
                  </a:cubicBezTo>
                  <a:cubicBezTo>
                    <a:pt x="1657465" y="1025524"/>
                    <a:pt x="1664892" y="1009925"/>
                    <a:pt x="1670835" y="993592"/>
                  </a:cubicBezTo>
                  <a:cubicBezTo>
                    <a:pt x="1672320" y="989878"/>
                    <a:pt x="1673063" y="985421"/>
                    <a:pt x="1674548" y="980965"/>
                  </a:cubicBezTo>
                  <a:cubicBezTo>
                    <a:pt x="1676034" y="976508"/>
                    <a:pt x="1676777" y="972794"/>
                    <a:pt x="1677520" y="968337"/>
                  </a:cubicBezTo>
                  <a:lnTo>
                    <a:pt x="1680491" y="955710"/>
                  </a:lnTo>
                  <a:cubicBezTo>
                    <a:pt x="1681234" y="951261"/>
                    <a:pt x="1681976" y="946061"/>
                    <a:pt x="1681234" y="941612"/>
                  </a:cubicBezTo>
                  <a:cubicBezTo>
                    <a:pt x="1681234" y="923043"/>
                    <a:pt x="1674548" y="905959"/>
                    <a:pt x="1667121" y="890368"/>
                  </a:cubicBezTo>
                  <a:cubicBezTo>
                    <a:pt x="1658950" y="874770"/>
                    <a:pt x="1650044" y="860664"/>
                    <a:pt x="1639646" y="847302"/>
                  </a:cubicBezTo>
                  <a:cubicBezTo>
                    <a:pt x="1618855" y="820562"/>
                    <a:pt x="1595836" y="796800"/>
                    <a:pt x="1571325" y="774524"/>
                  </a:cubicBezTo>
                  <a:cubicBezTo>
                    <a:pt x="1546820" y="752248"/>
                    <a:pt x="1521574" y="730708"/>
                    <a:pt x="1495584" y="710660"/>
                  </a:cubicBezTo>
                  <a:cubicBezTo>
                    <a:pt x="1469594" y="690605"/>
                    <a:pt x="1442861" y="671308"/>
                    <a:pt x="1415386" y="651996"/>
                  </a:cubicBezTo>
                  <a:cubicBezTo>
                    <a:pt x="1402016" y="642347"/>
                    <a:pt x="1387910" y="633434"/>
                    <a:pt x="1374541" y="624520"/>
                  </a:cubicBezTo>
                  <a:cubicBezTo>
                    <a:pt x="1367856" y="620064"/>
                    <a:pt x="1360435" y="615614"/>
                    <a:pt x="1354493" y="611158"/>
                  </a:cubicBezTo>
                  <a:cubicBezTo>
                    <a:pt x="1349294" y="607444"/>
                    <a:pt x="1343351" y="602987"/>
                    <a:pt x="1338152" y="598531"/>
                  </a:cubicBezTo>
                  <a:cubicBezTo>
                    <a:pt x="1337409" y="597788"/>
                    <a:pt x="1336666" y="597045"/>
                    <a:pt x="1335181" y="596302"/>
                  </a:cubicBezTo>
                  <a:cubicBezTo>
                    <a:pt x="1283201" y="556207"/>
                    <a:pt x="1232707" y="513876"/>
                    <a:pt x="1182948" y="471553"/>
                  </a:cubicBezTo>
                  <a:cubicBezTo>
                    <a:pt x="1132454" y="429222"/>
                    <a:pt x="1083446" y="386148"/>
                    <a:pt x="1035916" y="340846"/>
                  </a:cubicBezTo>
                  <a:cubicBezTo>
                    <a:pt x="1024039" y="329712"/>
                    <a:pt x="1011411" y="318570"/>
                    <a:pt x="1000277" y="307436"/>
                  </a:cubicBezTo>
                  <a:cubicBezTo>
                    <a:pt x="988393" y="296294"/>
                    <a:pt x="978737" y="284410"/>
                    <a:pt x="968345" y="271047"/>
                  </a:cubicBezTo>
                  <a:cubicBezTo>
                    <a:pt x="949033" y="245057"/>
                    <a:pt x="931956" y="217582"/>
                    <a:pt x="917101" y="187878"/>
                  </a:cubicBezTo>
                  <a:cubicBezTo>
                    <a:pt x="888140" y="129956"/>
                    <a:pt x="867350" y="66092"/>
                    <a:pt x="868092" y="0"/>
                  </a:cubicBezTo>
                  <a:cubicBezTo>
                    <a:pt x="865864" y="32675"/>
                    <a:pt x="869578" y="66092"/>
                    <a:pt x="876263" y="98024"/>
                  </a:cubicBezTo>
                  <a:cubicBezTo>
                    <a:pt x="883690" y="129956"/>
                    <a:pt x="894825" y="161888"/>
                    <a:pt x="908195" y="191592"/>
                  </a:cubicBezTo>
                  <a:cubicBezTo>
                    <a:pt x="921557" y="222039"/>
                    <a:pt x="937898" y="250999"/>
                    <a:pt x="956460" y="278475"/>
                  </a:cubicBezTo>
                  <a:cubicBezTo>
                    <a:pt x="966117" y="291837"/>
                    <a:pt x="976508" y="305950"/>
                    <a:pt x="987650" y="317835"/>
                  </a:cubicBezTo>
                  <a:cubicBezTo>
                    <a:pt x="998791" y="330454"/>
                    <a:pt x="1010668" y="341596"/>
                    <a:pt x="1022553" y="353473"/>
                  </a:cubicBezTo>
                  <a:cubicBezTo>
                    <a:pt x="1070819" y="398775"/>
                    <a:pt x="1120577" y="441841"/>
                    <a:pt x="1170329" y="484165"/>
                  </a:cubicBezTo>
                  <a:cubicBezTo>
                    <a:pt x="1220823" y="526496"/>
                    <a:pt x="1271324" y="568827"/>
                    <a:pt x="1323304" y="608929"/>
                  </a:cubicBezTo>
                  <a:cubicBezTo>
                    <a:pt x="1329989" y="614129"/>
                    <a:pt x="1336666" y="619328"/>
                    <a:pt x="1343351" y="623777"/>
                  </a:cubicBezTo>
                  <a:cubicBezTo>
                    <a:pt x="1350779" y="628977"/>
                    <a:pt x="1357464" y="632691"/>
                    <a:pt x="1364142" y="637883"/>
                  </a:cubicBezTo>
                  <a:cubicBezTo>
                    <a:pt x="1377512" y="646796"/>
                    <a:pt x="1391624" y="655710"/>
                    <a:pt x="1404987" y="665366"/>
                  </a:cubicBezTo>
                  <a:cubicBezTo>
                    <a:pt x="1431720" y="683928"/>
                    <a:pt x="1458452" y="703233"/>
                    <a:pt x="1484442" y="723287"/>
                  </a:cubicBezTo>
                  <a:cubicBezTo>
                    <a:pt x="1510432" y="743335"/>
                    <a:pt x="1535679" y="764125"/>
                    <a:pt x="1559448" y="786401"/>
                  </a:cubicBezTo>
                  <a:cubicBezTo>
                    <a:pt x="1583209" y="808685"/>
                    <a:pt x="1606228" y="831703"/>
                    <a:pt x="1625540" y="856950"/>
                  </a:cubicBezTo>
                  <a:cubicBezTo>
                    <a:pt x="1635189" y="869578"/>
                    <a:pt x="1644102" y="882948"/>
                    <a:pt x="1651530" y="897053"/>
                  </a:cubicBezTo>
                  <a:cubicBezTo>
                    <a:pt x="1658950" y="911166"/>
                    <a:pt x="1663407" y="926014"/>
                    <a:pt x="1663407" y="940119"/>
                  </a:cubicBezTo>
                  <a:cubicBezTo>
                    <a:pt x="1663407" y="943833"/>
                    <a:pt x="1662664" y="946812"/>
                    <a:pt x="1662664" y="950518"/>
                  </a:cubicBezTo>
                  <a:lnTo>
                    <a:pt x="1660436" y="962403"/>
                  </a:lnTo>
                  <a:cubicBezTo>
                    <a:pt x="1659693" y="966117"/>
                    <a:pt x="1658958" y="969823"/>
                    <a:pt x="1657472" y="973537"/>
                  </a:cubicBezTo>
                  <a:cubicBezTo>
                    <a:pt x="1655987" y="977251"/>
                    <a:pt x="1655244" y="980965"/>
                    <a:pt x="1653758" y="984679"/>
                  </a:cubicBezTo>
                  <a:cubicBezTo>
                    <a:pt x="1648559" y="999527"/>
                    <a:pt x="1641874" y="1013639"/>
                    <a:pt x="1632960" y="1026259"/>
                  </a:cubicBezTo>
                  <a:cubicBezTo>
                    <a:pt x="1615141" y="1051506"/>
                    <a:pt x="1587666" y="1067847"/>
                    <a:pt x="1557219" y="1071561"/>
                  </a:cubicBezTo>
                  <a:cubicBezTo>
                    <a:pt x="1526773" y="1075275"/>
                    <a:pt x="1494841" y="1069333"/>
                    <a:pt x="1464394" y="1058199"/>
                  </a:cubicBezTo>
                  <a:cubicBezTo>
                    <a:pt x="1434691" y="1047057"/>
                    <a:pt x="1404987" y="1032209"/>
                    <a:pt x="1376026" y="1017353"/>
                  </a:cubicBezTo>
                  <a:cubicBezTo>
                    <a:pt x="1347065" y="1002505"/>
                    <a:pt x="1318104" y="986157"/>
                    <a:pt x="1289143" y="970566"/>
                  </a:cubicBezTo>
                  <a:cubicBezTo>
                    <a:pt x="1231964" y="938634"/>
                    <a:pt x="1174785" y="905966"/>
                    <a:pt x="1117606" y="872549"/>
                  </a:cubicBezTo>
                  <a:lnTo>
                    <a:pt x="946804" y="773782"/>
                  </a:lnTo>
                  <a:cubicBezTo>
                    <a:pt x="889625" y="741107"/>
                    <a:pt x="832446" y="708439"/>
                    <a:pt x="773039" y="679479"/>
                  </a:cubicBezTo>
                  <a:cubicBezTo>
                    <a:pt x="765619" y="675765"/>
                    <a:pt x="758191" y="672786"/>
                    <a:pt x="750020" y="669079"/>
                  </a:cubicBezTo>
                  <a:cubicBezTo>
                    <a:pt x="742592" y="666108"/>
                    <a:pt x="732944" y="663137"/>
                    <a:pt x="724773" y="661652"/>
                  </a:cubicBezTo>
                  <a:cubicBezTo>
                    <a:pt x="708440" y="657938"/>
                    <a:pt x="692098" y="655710"/>
                    <a:pt x="675765" y="652738"/>
                  </a:cubicBezTo>
                  <a:cubicBezTo>
                    <a:pt x="643090" y="648282"/>
                    <a:pt x="609672" y="645318"/>
                    <a:pt x="576997" y="642347"/>
                  </a:cubicBezTo>
                  <a:cubicBezTo>
                    <a:pt x="511648" y="637148"/>
                    <a:pt x="445556" y="633434"/>
                    <a:pt x="380213" y="627491"/>
                  </a:cubicBezTo>
                  <a:cubicBezTo>
                    <a:pt x="314864" y="621557"/>
                    <a:pt x="248771" y="619321"/>
                    <a:pt x="184164" y="608179"/>
                  </a:cubicBezTo>
                  <a:cubicBezTo>
                    <a:pt x="119558" y="597045"/>
                    <a:pt x="56436" y="576247"/>
                    <a:pt x="0" y="543572"/>
                  </a:cubicBezTo>
                  <a:cubicBezTo>
                    <a:pt x="27475" y="561399"/>
                    <a:pt x="57179" y="576990"/>
                    <a:pt x="87626" y="589617"/>
                  </a:cubicBezTo>
                  <a:cubicBezTo>
                    <a:pt x="118072" y="602244"/>
                    <a:pt x="150004" y="611158"/>
                    <a:pt x="182679" y="618578"/>
                  </a:cubicBezTo>
                  <a:cubicBezTo>
                    <a:pt x="196049" y="621549"/>
                    <a:pt x="209412" y="623777"/>
                    <a:pt x="223524" y="626749"/>
                  </a:cubicBezTo>
                  <a:cubicBezTo>
                    <a:pt x="274761" y="635662"/>
                    <a:pt x="326741" y="640854"/>
                    <a:pt x="378728" y="647539"/>
                  </a:cubicBezTo>
                  <a:cubicBezTo>
                    <a:pt x="444813" y="653481"/>
                    <a:pt x="510162" y="657195"/>
                    <a:pt x="575512" y="662387"/>
                  </a:cubicBezTo>
                  <a:cubicBezTo>
                    <a:pt x="581454" y="663130"/>
                    <a:pt x="587396" y="663137"/>
                    <a:pt x="593331" y="663880"/>
                  </a:cubicBezTo>
                  <a:cubicBezTo>
                    <a:pt x="620071" y="666101"/>
                    <a:pt x="646804" y="669079"/>
                    <a:pt x="672794" y="672786"/>
                  </a:cubicBezTo>
                  <a:cubicBezTo>
                    <a:pt x="688384" y="677243"/>
                    <a:pt x="704726" y="679479"/>
                    <a:pt x="720317" y="683185"/>
                  </a:cubicBezTo>
                  <a:close/>
                </a:path>
              </a:pathLst>
            </a:custGeom>
            <a:solidFill>
              <a:srgbClr val="EDCFC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TekstSylinder 6">
            <a:extLst>
              <a:ext uri="{FF2B5EF4-FFF2-40B4-BE49-F238E27FC236}">
                <a16:creationId xmlns:a16="http://schemas.microsoft.com/office/drawing/2014/main" id="{8BF595D7-C6E9-0CF3-5AC2-65B858E2422F}"/>
              </a:ext>
            </a:extLst>
          </p:cNvPr>
          <p:cNvSpPr txBox="1"/>
          <p:nvPr/>
        </p:nvSpPr>
        <p:spPr>
          <a:xfrm>
            <a:off x="1461245" y="3576843"/>
            <a:ext cx="9538015" cy="1200329"/>
          </a:xfrm>
          <a:prstGeom prst="rect">
            <a:avLst/>
          </a:prstGeom>
          <a:noFill/>
        </p:spPr>
        <p:txBody>
          <a:bodyPr wrap="square">
            <a:spAutoFit/>
          </a:bodyPr>
          <a:lstStyle/>
          <a:p>
            <a:pPr marL="599380" marR="0" lvl="0" indent="0" algn="l" defTabSz="1219078" rtl="0" eaLnBrk="1" fontAlgn="auto" latinLnBrk="0" hangingPunct="1">
              <a:lnSpc>
                <a:spcPct val="100000"/>
              </a:lnSpc>
              <a:spcBef>
                <a:spcPts val="0"/>
              </a:spcBef>
              <a:spcAft>
                <a:spcPts val="0"/>
              </a:spcAft>
              <a:buClrTx/>
              <a:buSzTx/>
              <a:buFontTx/>
              <a:buNone/>
              <a:tabLst/>
              <a:defRPr/>
            </a:pPr>
            <a:r>
              <a:rPr kumimoji="0" lang="nb-NO" sz="240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Nasjonale grunndata er opplysninger som mange har bruk for og som er særlig viktige for samfunnets funksjoner og tjenester. De skal ha tilstrekkelig kvalitet og være enkelt tilgjengelige.</a:t>
            </a:r>
            <a:endPar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19" name="Tittel 2">
            <a:extLst>
              <a:ext uri="{FF2B5EF4-FFF2-40B4-BE49-F238E27FC236}">
                <a16:creationId xmlns:a16="http://schemas.microsoft.com/office/drawing/2014/main" id="{1089BFD8-85BB-F40F-0DBA-A590F6F1BC28}"/>
              </a:ext>
            </a:extLst>
          </p:cNvPr>
          <p:cNvSpPr>
            <a:spLocks noGrp="1"/>
          </p:cNvSpPr>
          <p:nvPr>
            <p:ph type="title"/>
          </p:nvPr>
        </p:nvSpPr>
        <p:spPr>
          <a:xfrm>
            <a:off x="1979608" y="833798"/>
            <a:ext cx="12295197" cy="692430"/>
          </a:xfrm>
        </p:spPr>
        <p:txBody>
          <a:bodyPr/>
          <a:lstStyle/>
          <a:p>
            <a:r>
              <a:rPr lang="nb-NO"/>
              <a:t>Nasjonale grunndata</a:t>
            </a:r>
          </a:p>
        </p:txBody>
      </p:sp>
    </p:spTree>
    <p:extLst>
      <p:ext uri="{BB962C8B-B14F-4D97-AF65-F5344CB8AC3E}">
        <p14:creationId xmlns:p14="http://schemas.microsoft.com/office/powerpoint/2010/main" val="2619392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descr="Et bilde som inneholder firkant&#10;&#10;Automatisk generert beskrivelse">
            <a:extLst>
              <a:ext uri="{FF2B5EF4-FFF2-40B4-BE49-F238E27FC236}">
                <a16:creationId xmlns:a16="http://schemas.microsoft.com/office/drawing/2014/main" id="{412FB1E9-1AB3-6CFC-9532-2CCAA088BE35}"/>
              </a:ext>
            </a:extLst>
          </p:cNvPr>
          <p:cNvPicPr>
            <a:picLocks noChangeAspect="1"/>
          </p:cNvPicPr>
          <p:nvPr/>
        </p:nvPicPr>
        <p:blipFill rotWithShape="1">
          <a:blip r:embed="rId2"/>
          <a:srcRect t="19"/>
          <a:stretch/>
        </p:blipFill>
        <p:spPr>
          <a:xfrm>
            <a:off x="26" y="2156"/>
            <a:ext cx="16254386" cy="9141398"/>
          </a:xfrm>
          <a:prstGeom prst="rect">
            <a:avLst/>
          </a:prstGeom>
        </p:spPr>
      </p:pic>
      <p:sp>
        <p:nvSpPr>
          <p:cNvPr id="2" name="TekstSylinder 1">
            <a:extLst>
              <a:ext uri="{FF2B5EF4-FFF2-40B4-BE49-F238E27FC236}">
                <a16:creationId xmlns:a16="http://schemas.microsoft.com/office/drawing/2014/main" id="{368AF5AA-4DE9-560B-F374-5FB4B8B34982}"/>
              </a:ext>
            </a:extLst>
          </p:cNvPr>
          <p:cNvSpPr txBox="1"/>
          <p:nvPr/>
        </p:nvSpPr>
        <p:spPr>
          <a:xfrm>
            <a:off x="5045272" y="2226595"/>
            <a:ext cx="7095439" cy="2061846"/>
          </a:xfrm>
          <a:prstGeom prst="rect">
            <a:avLst/>
          </a:prstGeom>
          <a:solidFill>
            <a:srgbClr val="1E98F5"/>
          </a:solidFill>
        </p:spPr>
        <p:txBody>
          <a:bodyPr wrap="square" rtlCol="0">
            <a:spAutoFit/>
          </a:bodyPr>
          <a:lstStyle/>
          <a:p>
            <a:pPr marL="0" marR="0" lvl="0" indent="0" algn="ctr" defTabSz="1149949" rtl="0" eaLnBrk="1" fontAlgn="auto" latinLnBrk="0" hangingPunct="1">
              <a:lnSpc>
                <a:spcPct val="100000"/>
              </a:lnSpc>
              <a:spcBef>
                <a:spcPts val="0"/>
              </a:spcBef>
              <a:spcAft>
                <a:spcPts val="0"/>
              </a:spcAft>
              <a:buClrTx/>
              <a:buSzTx/>
              <a:buFontTx/>
              <a:buNone/>
              <a:tabLst/>
              <a:defRPr/>
            </a:pPr>
            <a:r>
              <a:rPr kumimoji="0" lang="nb-NO" sz="6399" b="1" i="0" u="none" strike="noStrike" kern="1200" cap="none" spc="0" normalizeH="0" baseline="0" noProof="0">
                <a:ln>
                  <a:noFill/>
                </a:ln>
                <a:solidFill>
                  <a:prstClr val="black"/>
                </a:solidFill>
                <a:effectLst/>
                <a:uLnTx/>
                <a:uFillTx/>
                <a:latin typeface="Calibri" panose="020F0502020204030204"/>
                <a:ea typeface="+mn-ea"/>
                <a:cs typeface="+mn-cs"/>
              </a:rPr>
              <a:t>Foreslått løsning og tiltak </a:t>
            </a:r>
            <a:endParaRPr kumimoji="0" lang="nb-NO" sz="4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1688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pe 17">
            <a:extLst>
              <a:ext uri="{FF2B5EF4-FFF2-40B4-BE49-F238E27FC236}">
                <a16:creationId xmlns:a16="http://schemas.microsoft.com/office/drawing/2014/main" id="{BE0FC86C-1878-416C-AFD8-20E8CAE424D9}"/>
              </a:ext>
            </a:extLst>
          </p:cNvPr>
          <p:cNvGrpSpPr/>
          <p:nvPr/>
        </p:nvGrpSpPr>
        <p:grpSpPr>
          <a:xfrm rot="16200000">
            <a:off x="8417919" y="1173964"/>
            <a:ext cx="9009219" cy="6662183"/>
            <a:chOff x="5185530" y="1694389"/>
            <a:chExt cx="8876196" cy="6236296"/>
          </a:xfrm>
        </p:grpSpPr>
        <p:sp>
          <p:nvSpPr>
            <p:cNvPr id="8" name="Frihåndsform: figur 7">
              <a:extLst>
                <a:ext uri="{FF2B5EF4-FFF2-40B4-BE49-F238E27FC236}">
                  <a16:creationId xmlns:a16="http://schemas.microsoft.com/office/drawing/2014/main" id="{58E4171C-CD94-46E7-AAE2-F670C84AA00B}"/>
                </a:ext>
              </a:extLst>
            </p:cNvPr>
            <p:cNvSpPr/>
            <p:nvPr/>
          </p:nvSpPr>
          <p:spPr>
            <a:xfrm>
              <a:off x="6362536" y="2400594"/>
              <a:ext cx="840616" cy="419564"/>
            </a:xfrm>
            <a:custGeom>
              <a:avLst/>
              <a:gdLst>
                <a:gd name="connsiteX0" fmla="*/ 579961 w 840616"/>
                <a:gd name="connsiteY0" fmla="*/ 317826 h 419564"/>
                <a:gd name="connsiteX1" fmla="*/ 488622 w 840616"/>
                <a:gd name="connsiteY1" fmla="*/ 272531 h 419564"/>
                <a:gd name="connsiteX2" fmla="*/ 308914 w 840616"/>
                <a:gd name="connsiteY2" fmla="*/ 176735 h 419564"/>
                <a:gd name="connsiteX3" fmla="*/ 132177 w 840616"/>
                <a:gd name="connsiteY3" fmla="*/ 77225 h 419564"/>
                <a:gd name="connsiteX4" fmla="*/ 0 w 840616"/>
                <a:gd name="connsiteY4" fmla="*/ 0 h 419564"/>
                <a:gd name="connsiteX5" fmla="*/ 465603 w 840616"/>
                <a:gd name="connsiteY5" fmla="*/ 266589 h 419564"/>
                <a:gd name="connsiteX6" fmla="*/ 840617 w 840616"/>
                <a:gd name="connsiteY6" fmla="*/ 419564 h 419564"/>
                <a:gd name="connsiteX7" fmla="*/ 673529 w 840616"/>
                <a:gd name="connsiteY7" fmla="*/ 358671 h 419564"/>
                <a:gd name="connsiteX8" fmla="*/ 579961 w 840616"/>
                <a:gd name="connsiteY8" fmla="*/ 317826 h 41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0616" h="419564">
                  <a:moveTo>
                    <a:pt x="579961" y="317826"/>
                  </a:moveTo>
                  <a:cubicBezTo>
                    <a:pt x="549515" y="302978"/>
                    <a:pt x="519068" y="288130"/>
                    <a:pt x="488622" y="272531"/>
                  </a:cubicBezTo>
                  <a:cubicBezTo>
                    <a:pt x="428471" y="242085"/>
                    <a:pt x="368321" y="209410"/>
                    <a:pt x="308914" y="176735"/>
                  </a:cubicBezTo>
                  <a:cubicBezTo>
                    <a:pt x="249506" y="144060"/>
                    <a:pt x="190842" y="110643"/>
                    <a:pt x="132177" y="77225"/>
                  </a:cubicBezTo>
                  <a:cubicBezTo>
                    <a:pt x="87626" y="51978"/>
                    <a:pt x="43809" y="25988"/>
                    <a:pt x="0" y="0"/>
                  </a:cubicBezTo>
                  <a:cubicBezTo>
                    <a:pt x="250992" y="149260"/>
                    <a:pt x="435156" y="255447"/>
                    <a:pt x="465603" y="266589"/>
                  </a:cubicBezTo>
                  <a:cubicBezTo>
                    <a:pt x="555457" y="300007"/>
                    <a:pt x="680214" y="389860"/>
                    <a:pt x="840617" y="419564"/>
                  </a:cubicBezTo>
                  <a:cubicBezTo>
                    <a:pt x="783430" y="403230"/>
                    <a:pt x="727737" y="381690"/>
                    <a:pt x="673529" y="358671"/>
                  </a:cubicBezTo>
                  <a:cubicBezTo>
                    <a:pt x="641597" y="346044"/>
                    <a:pt x="611150" y="332681"/>
                    <a:pt x="579961" y="317826"/>
                  </a:cubicBezTo>
                  <a:close/>
                </a:path>
              </a:pathLst>
            </a:custGeom>
            <a:solidFill>
              <a:srgbClr val="1E98F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ihåndsform: figur 8">
              <a:extLst>
                <a:ext uri="{FF2B5EF4-FFF2-40B4-BE49-F238E27FC236}">
                  <a16:creationId xmlns:a16="http://schemas.microsoft.com/office/drawing/2014/main" id="{80F1BB0B-72D1-423A-9569-ACED551636AF}"/>
                </a:ext>
              </a:extLst>
            </p:cNvPr>
            <p:cNvSpPr/>
            <p:nvPr/>
          </p:nvSpPr>
          <p:spPr>
            <a:xfrm>
              <a:off x="7994965" y="3536753"/>
              <a:ext cx="3126095" cy="2323572"/>
            </a:xfrm>
            <a:custGeom>
              <a:avLst/>
              <a:gdLst>
                <a:gd name="connsiteX0" fmla="*/ 2539450 w 3126095"/>
                <a:gd name="connsiteY0" fmla="*/ 2091135 h 2323572"/>
                <a:gd name="connsiteX1" fmla="*/ 2522374 w 3126095"/>
                <a:gd name="connsiteY1" fmla="*/ 1854256 h 2323572"/>
                <a:gd name="connsiteX2" fmla="*/ 2807526 w 3126095"/>
                <a:gd name="connsiteY2" fmla="*/ 1840886 h 2323572"/>
                <a:gd name="connsiteX3" fmla="*/ 2901836 w 3126095"/>
                <a:gd name="connsiteY3" fmla="*/ 2013166 h 2323572"/>
                <a:gd name="connsiteX4" fmla="*/ 3126096 w 3126095"/>
                <a:gd name="connsiteY4" fmla="*/ 1958215 h 2323572"/>
                <a:gd name="connsiteX5" fmla="*/ 3031785 w 3126095"/>
                <a:gd name="connsiteY5" fmla="*/ 1573553 h 2323572"/>
                <a:gd name="connsiteX6" fmla="*/ 2951588 w 3126095"/>
                <a:gd name="connsiteY6" fmla="*/ 1609941 h 2323572"/>
                <a:gd name="connsiteX7" fmla="*/ 2904065 w 3126095"/>
                <a:gd name="connsiteY7" fmla="*/ 1627018 h 2323572"/>
                <a:gd name="connsiteX8" fmla="*/ 2854306 w 3126095"/>
                <a:gd name="connsiteY8" fmla="*/ 1638903 h 2323572"/>
                <a:gd name="connsiteX9" fmla="*/ 2802327 w 3126095"/>
                <a:gd name="connsiteY9" fmla="*/ 1643352 h 2323572"/>
                <a:gd name="connsiteX10" fmla="*/ 2750347 w 3126095"/>
                <a:gd name="connsiteY10" fmla="*/ 1632960 h 2323572"/>
                <a:gd name="connsiteX11" fmla="*/ 2663464 w 3126095"/>
                <a:gd name="connsiteY11" fmla="*/ 1575781 h 2323572"/>
                <a:gd name="connsiteX12" fmla="*/ 2638960 w 3126095"/>
                <a:gd name="connsiteY12" fmla="*/ 1527516 h 2323572"/>
                <a:gd name="connsiteX13" fmla="*/ 2639695 w 3126095"/>
                <a:gd name="connsiteY13" fmla="*/ 1498547 h 2323572"/>
                <a:gd name="connsiteX14" fmla="*/ 2653065 w 3126095"/>
                <a:gd name="connsiteY14" fmla="*/ 1472557 h 2323572"/>
                <a:gd name="connsiteX15" fmla="*/ 2673856 w 3126095"/>
                <a:gd name="connsiteY15" fmla="*/ 1453995 h 2323572"/>
                <a:gd name="connsiteX16" fmla="*/ 2695396 w 3126095"/>
                <a:gd name="connsiteY16" fmla="*/ 1440625 h 2323572"/>
                <a:gd name="connsiteX17" fmla="*/ 2737720 w 3126095"/>
                <a:gd name="connsiteY17" fmla="*/ 1413150 h 2323572"/>
                <a:gd name="connsiteX18" fmla="*/ 2821631 w 3126095"/>
                <a:gd name="connsiteY18" fmla="*/ 1358207 h 2323572"/>
                <a:gd name="connsiteX19" fmla="*/ 2959015 w 3126095"/>
                <a:gd name="connsiteY19" fmla="*/ 1271317 h 2323572"/>
                <a:gd name="connsiteX20" fmla="*/ 2762967 w 3126095"/>
                <a:gd name="connsiteY20" fmla="*/ 467831 h 2323572"/>
                <a:gd name="connsiteX21" fmla="*/ 1713689 w 3126095"/>
                <a:gd name="connsiteY21" fmla="*/ 724030 h 2323572"/>
                <a:gd name="connsiteX22" fmla="*/ 887928 w 3126095"/>
                <a:gd name="connsiteY22" fmla="*/ 0 h 2323572"/>
                <a:gd name="connsiteX23" fmla="*/ 875300 w 3126095"/>
                <a:gd name="connsiteY23" fmla="*/ 0 h 2323572"/>
                <a:gd name="connsiteX24" fmla="*/ 816636 w 3126095"/>
                <a:gd name="connsiteY24" fmla="*/ 743 h 2323572"/>
                <a:gd name="connsiteX25" fmla="*/ 584206 w 3126095"/>
                <a:gd name="connsiteY25" fmla="*/ 45295 h 2323572"/>
                <a:gd name="connsiteX26" fmla="*/ 505493 w 3126095"/>
                <a:gd name="connsiteY26" fmla="*/ 76484 h 2323572"/>
                <a:gd name="connsiteX27" fmla="*/ 470590 w 3126095"/>
                <a:gd name="connsiteY27" fmla="*/ 93568 h 2323572"/>
                <a:gd name="connsiteX28" fmla="*/ 486924 w 3126095"/>
                <a:gd name="connsiteY28" fmla="*/ 106188 h 2323572"/>
                <a:gd name="connsiteX29" fmla="*/ 506979 w 3126095"/>
                <a:gd name="connsiteY29" fmla="*/ 119557 h 2323572"/>
                <a:gd name="connsiteX30" fmla="*/ 547817 w 3126095"/>
                <a:gd name="connsiteY30" fmla="*/ 147033 h 2323572"/>
                <a:gd name="connsiteX31" fmla="*/ 628022 w 3126095"/>
                <a:gd name="connsiteY31" fmla="*/ 205698 h 2323572"/>
                <a:gd name="connsiteX32" fmla="*/ 703763 w 3126095"/>
                <a:gd name="connsiteY32" fmla="*/ 269562 h 2323572"/>
                <a:gd name="connsiteX33" fmla="*/ 772084 w 3126095"/>
                <a:gd name="connsiteY33" fmla="*/ 342332 h 2323572"/>
                <a:gd name="connsiteX34" fmla="*/ 799559 w 3126095"/>
                <a:gd name="connsiteY34" fmla="*/ 385405 h 2323572"/>
                <a:gd name="connsiteX35" fmla="*/ 813665 w 3126095"/>
                <a:gd name="connsiteY35" fmla="*/ 436642 h 2323572"/>
                <a:gd name="connsiteX36" fmla="*/ 812922 w 3126095"/>
                <a:gd name="connsiteY36" fmla="*/ 450755 h 2323572"/>
                <a:gd name="connsiteX37" fmla="*/ 809951 w 3126095"/>
                <a:gd name="connsiteY37" fmla="*/ 463382 h 2323572"/>
                <a:gd name="connsiteX38" fmla="*/ 806987 w 3126095"/>
                <a:gd name="connsiteY38" fmla="*/ 476002 h 2323572"/>
                <a:gd name="connsiteX39" fmla="*/ 803273 w 3126095"/>
                <a:gd name="connsiteY39" fmla="*/ 488622 h 2323572"/>
                <a:gd name="connsiteX40" fmla="*/ 779504 w 3126095"/>
                <a:gd name="connsiteY40" fmla="*/ 534667 h 2323572"/>
                <a:gd name="connsiteX41" fmla="*/ 691136 w 3126095"/>
                <a:gd name="connsiteY41" fmla="*/ 587389 h 2323572"/>
                <a:gd name="connsiteX42" fmla="*/ 590148 w 3126095"/>
                <a:gd name="connsiteY42" fmla="*/ 573283 h 2323572"/>
                <a:gd name="connsiteX43" fmla="*/ 499551 w 3126095"/>
                <a:gd name="connsiteY43" fmla="*/ 530953 h 2323572"/>
                <a:gd name="connsiteX44" fmla="*/ 412668 w 3126095"/>
                <a:gd name="connsiteY44" fmla="*/ 484172 h 2323572"/>
                <a:gd name="connsiteX45" fmla="*/ 241131 w 3126095"/>
                <a:gd name="connsiteY45" fmla="*/ 386148 h 2323572"/>
                <a:gd name="connsiteX46" fmla="*/ 171325 w 3126095"/>
                <a:gd name="connsiteY46" fmla="*/ 346045 h 2323572"/>
                <a:gd name="connsiteX47" fmla="*/ 120088 w 3126095"/>
                <a:gd name="connsiteY47" fmla="*/ 423280 h 2323572"/>
                <a:gd name="connsiteX48" fmla="*/ 7951 w 3126095"/>
                <a:gd name="connsiteY48" fmla="*/ 744078 h 2323572"/>
                <a:gd name="connsiteX49" fmla="*/ 1273 w 3126095"/>
                <a:gd name="connsiteY49" fmla="*/ 907452 h 2323572"/>
                <a:gd name="connsiteX50" fmla="*/ 907232 w 3126095"/>
                <a:gd name="connsiteY50" fmla="*/ 1721328 h 2323572"/>
                <a:gd name="connsiteX51" fmla="*/ 1433728 w 3126095"/>
                <a:gd name="connsiteY51" fmla="*/ 1504489 h 2323572"/>
                <a:gd name="connsiteX52" fmla="*/ 1633484 w 3126095"/>
                <a:gd name="connsiteY52" fmla="*/ 2323573 h 2323572"/>
                <a:gd name="connsiteX53" fmla="*/ 2538707 w 3126095"/>
                <a:gd name="connsiteY53" fmla="*/ 2102277 h 2323572"/>
                <a:gd name="connsiteX54" fmla="*/ 2537221 w 3126095"/>
                <a:gd name="connsiteY54" fmla="*/ 2090393 h 2323572"/>
                <a:gd name="connsiteX55" fmla="*/ 2539450 w 3126095"/>
                <a:gd name="connsiteY55" fmla="*/ 2091135 h 232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26095" h="2323572">
                  <a:moveTo>
                    <a:pt x="2539450" y="2091135"/>
                  </a:moveTo>
                  <a:cubicBezTo>
                    <a:pt x="2529051" y="1996082"/>
                    <a:pt x="2527565" y="1909207"/>
                    <a:pt x="2522374" y="1854256"/>
                  </a:cubicBezTo>
                  <a:cubicBezTo>
                    <a:pt x="2509746" y="1707223"/>
                    <a:pt x="2711730" y="1728013"/>
                    <a:pt x="2807526" y="1840886"/>
                  </a:cubicBezTo>
                  <a:cubicBezTo>
                    <a:pt x="2849850" y="1890645"/>
                    <a:pt x="2880296" y="1954502"/>
                    <a:pt x="2901836" y="2013166"/>
                  </a:cubicBezTo>
                  <a:lnTo>
                    <a:pt x="3126096" y="1958215"/>
                  </a:lnTo>
                  <a:lnTo>
                    <a:pt x="3031785" y="1573553"/>
                  </a:lnTo>
                  <a:cubicBezTo>
                    <a:pt x="3005796" y="1586180"/>
                    <a:pt x="2979063" y="1598800"/>
                    <a:pt x="2951588" y="1609941"/>
                  </a:cubicBezTo>
                  <a:cubicBezTo>
                    <a:pt x="2935990" y="1616619"/>
                    <a:pt x="2920399" y="1622561"/>
                    <a:pt x="2904065" y="1627018"/>
                  </a:cubicBezTo>
                  <a:cubicBezTo>
                    <a:pt x="2887724" y="1631475"/>
                    <a:pt x="2871390" y="1635931"/>
                    <a:pt x="2854306" y="1638903"/>
                  </a:cubicBezTo>
                  <a:cubicBezTo>
                    <a:pt x="2837230" y="1641874"/>
                    <a:pt x="2820153" y="1644095"/>
                    <a:pt x="2802327" y="1643352"/>
                  </a:cubicBezTo>
                  <a:cubicBezTo>
                    <a:pt x="2783764" y="1642609"/>
                    <a:pt x="2767423" y="1638160"/>
                    <a:pt x="2750347" y="1632960"/>
                  </a:cubicBezTo>
                  <a:cubicBezTo>
                    <a:pt x="2717672" y="1621826"/>
                    <a:pt x="2686483" y="1603257"/>
                    <a:pt x="2663464" y="1575781"/>
                  </a:cubicBezTo>
                  <a:cubicBezTo>
                    <a:pt x="2652323" y="1562419"/>
                    <a:pt x="2642674" y="1546077"/>
                    <a:pt x="2638960" y="1527516"/>
                  </a:cubicBezTo>
                  <a:cubicBezTo>
                    <a:pt x="2637474" y="1517859"/>
                    <a:pt x="2637474" y="1508203"/>
                    <a:pt x="2639695" y="1498547"/>
                  </a:cubicBezTo>
                  <a:cubicBezTo>
                    <a:pt x="2641924" y="1488898"/>
                    <a:pt x="2647123" y="1479985"/>
                    <a:pt x="2653065" y="1472557"/>
                  </a:cubicBezTo>
                  <a:cubicBezTo>
                    <a:pt x="2659008" y="1465129"/>
                    <a:pt x="2666436" y="1459195"/>
                    <a:pt x="2673856" y="1453995"/>
                  </a:cubicBezTo>
                  <a:lnTo>
                    <a:pt x="2695396" y="1440625"/>
                  </a:lnTo>
                  <a:lnTo>
                    <a:pt x="2737720" y="1413150"/>
                  </a:lnTo>
                  <a:lnTo>
                    <a:pt x="2821631" y="1358207"/>
                  </a:lnTo>
                  <a:cubicBezTo>
                    <a:pt x="2866933" y="1328503"/>
                    <a:pt x="2912228" y="1299535"/>
                    <a:pt x="2959015" y="1271317"/>
                  </a:cubicBezTo>
                  <a:lnTo>
                    <a:pt x="2762967" y="467831"/>
                  </a:lnTo>
                  <a:lnTo>
                    <a:pt x="1713689" y="724030"/>
                  </a:lnTo>
                  <a:cubicBezTo>
                    <a:pt x="1649082" y="317085"/>
                    <a:pt x="1301551" y="11142"/>
                    <a:pt x="887928" y="0"/>
                  </a:cubicBezTo>
                  <a:cubicBezTo>
                    <a:pt x="884214" y="0"/>
                    <a:pt x="879757" y="0"/>
                    <a:pt x="875300" y="0"/>
                  </a:cubicBezTo>
                  <a:cubicBezTo>
                    <a:pt x="855996" y="0"/>
                    <a:pt x="836683" y="0"/>
                    <a:pt x="816636" y="743"/>
                  </a:cubicBezTo>
                  <a:cubicBezTo>
                    <a:pt x="735695" y="5199"/>
                    <a:pt x="657726" y="20790"/>
                    <a:pt x="584206" y="45295"/>
                  </a:cubicBezTo>
                  <a:cubicBezTo>
                    <a:pt x="557473" y="54208"/>
                    <a:pt x="530741" y="64607"/>
                    <a:pt x="505493" y="76484"/>
                  </a:cubicBezTo>
                  <a:cubicBezTo>
                    <a:pt x="493609" y="81683"/>
                    <a:pt x="482467" y="87626"/>
                    <a:pt x="470590" y="93568"/>
                  </a:cubicBezTo>
                  <a:cubicBezTo>
                    <a:pt x="476533" y="98017"/>
                    <a:pt x="481725" y="102474"/>
                    <a:pt x="486924" y="106188"/>
                  </a:cubicBezTo>
                  <a:cubicBezTo>
                    <a:pt x="492866" y="110644"/>
                    <a:pt x="500294" y="115101"/>
                    <a:pt x="506979" y="119557"/>
                  </a:cubicBezTo>
                  <a:cubicBezTo>
                    <a:pt x="521084" y="128463"/>
                    <a:pt x="534455" y="138119"/>
                    <a:pt x="547817" y="147033"/>
                  </a:cubicBezTo>
                  <a:cubicBezTo>
                    <a:pt x="575292" y="165595"/>
                    <a:pt x="602025" y="184907"/>
                    <a:pt x="628022" y="205698"/>
                  </a:cubicBezTo>
                  <a:cubicBezTo>
                    <a:pt x="654012" y="225752"/>
                    <a:pt x="680002" y="247286"/>
                    <a:pt x="703763" y="269562"/>
                  </a:cubicBezTo>
                  <a:cubicBezTo>
                    <a:pt x="728267" y="291837"/>
                    <a:pt x="751286" y="315599"/>
                    <a:pt x="772084" y="342332"/>
                  </a:cubicBezTo>
                  <a:cubicBezTo>
                    <a:pt x="782475" y="355701"/>
                    <a:pt x="792131" y="369814"/>
                    <a:pt x="799559" y="385405"/>
                  </a:cubicBezTo>
                  <a:cubicBezTo>
                    <a:pt x="806987" y="401003"/>
                    <a:pt x="813665" y="418080"/>
                    <a:pt x="813665" y="436642"/>
                  </a:cubicBezTo>
                  <a:cubicBezTo>
                    <a:pt x="813665" y="441099"/>
                    <a:pt x="812922" y="446298"/>
                    <a:pt x="812922" y="450755"/>
                  </a:cubicBezTo>
                  <a:lnTo>
                    <a:pt x="809951" y="463382"/>
                  </a:lnTo>
                  <a:cubicBezTo>
                    <a:pt x="809208" y="467839"/>
                    <a:pt x="807730" y="471545"/>
                    <a:pt x="806987" y="476002"/>
                  </a:cubicBezTo>
                  <a:cubicBezTo>
                    <a:pt x="805502" y="480451"/>
                    <a:pt x="804759" y="484172"/>
                    <a:pt x="803273" y="488622"/>
                  </a:cubicBezTo>
                  <a:cubicBezTo>
                    <a:pt x="798074" y="504963"/>
                    <a:pt x="789903" y="520561"/>
                    <a:pt x="779504" y="534667"/>
                  </a:cubicBezTo>
                  <a:cubicBezTo>
                    <a:pt x="759457" y="563627"/>
                    <a:pt x="726039" y="583675"/>
                    <a:pt x="691136" y="587389"/>
                  </a:cubicBezTo>
                  <a:cubicBezTo>
                    <a:pt x="656240" y="591846"/>
                    <a:pt x="622080" y="584425"/>
                    <a:pt x="590148" y="573283"/>
                  </a:cubicBezTo>
                  <a:cubicBezTo>
                    <a:pt x="558216" y="561399"/>
                    <a:pt x="529255" y="546551"/>
                    <a:pt x="499551" y="530953"/>
                  </a:cubicBezTo>
                  <a:cubicBezTo>
                    <a:pt x="470590" y="515362"/>
                    <a:pt x="441629" y="499763"/>
                    <a:pt x="412668" y="484172"/>
                  </a:cubicBezTo>
                  <a:cubicBezTo>
                    <a:pt x="354747" y="452240"/>
                    <a:pt x="298310" y="419566"/>
                    <a:pt x="241131" y="386148"/>
                  </a:cubicBezTo>
                  <a:lnTo>
                    <a:pt x="171325" y="346045"/>
                  </a:lnTo>
                  <a:cubicBezTo>
                    <a:pt x="152763" y="370550"/>
                    <a:pt x="135679" y="396547"/>
                    <a:pt x="120088" y="423280"/>
                  </a:cubicBezTo>
                  <a:cubicBezTo>
                    <a:pt x="62909" y="519818"/>
                    <a:pt x="23549" y="628977"/>
                    <a:pt x="7951" y="744078"/>
                  </a:cubicBezTo>
                  <a:cubicBezTo>
                    <a:pt x="531" y="797543"/>
                    <a:pt x="-1698" y="851758"/>
                    <a:pt x="1273" y="907452"/>
                  </a:cubicBezTo>
                  <a:cubicBezTo>
                    <a:pt x="26520" y="1382711"/>
                    <a:pt x="431973" y="1746576"/>
                    <a:pt x="907232" y="1721328"/>
                  </a:cubicBezTo>
                  <a:cubicBezTo>
                    <a:pt x="1109959" y="1710187"/>
                    <a:pt x="1292638" y="1629989"/>
                    <a:pt x="1433728" y="1504489"/>
                  </a:cubicBezTo>
                  <a:lnTo>
                    <a:pt x="1633484" y="2323573"/>
                  </a:lnTo>
                  <a:lnTo>
                    <a:pt x="2538707" y="2102277"/>
                  </a:lnTo>
                  <a:cubicBezTo>
                    <a:pt x="2537965" y="2098563"/>
                    <a:pt x="2537965" y="2094107"/>
                    <a:pt x="2537221" y="2090393"/>
                  </a:cubicBezTo>
                  <a:cubicBezTo>
                    <a:pt x="2539450" y="2091135"/>
                    <a:pt x="2539450" y="2091135"/>
                    <a:pt x="2539450" y="2091135"/>
                  </a:cubicBezTo>
                  <a:close/>
                </a:path>
              </a:pathLst>
            </a:custGeom>
            <a:solidFill>
              <a:srgbClr val="F05F63"/>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ihåndsform: figur 9">
              <a:extLst>
                <a:ext uri="{FF2B5EF4-FFF2-40B4-BE49-F238E27FC236}">
                  <a16:creationId xmlns:a16="http://schemas.microsoft.com/office/drawing/2014/main" id="{43239539-0A70-496E-AB98-CE03D4917A02}"/>
                </a:ext>
              </a:extLst>
            </p:cNvPr>
            <p:cNvSpPr/>
            <p:nvPr/>
          </p:nvSpPr>
          <p:spPr>
            <a:xfrm>
              <a:off x="10538136" y="4260816"/>
              <a:ext cx="3523590" cy="3669869"/>
            </a:xfrm>
            <a:custGeom>
              <a:avLst/>
              <a:gdLst>
                <a:gd name="connsiteX0" fmla="*/ 1933711 w 3523590"/>
                <a:gd name="connsiteY0" fmla="*/ 2008691 h 3669869"/>
                <a:gd name="connsiteX1" fmla="*/ 1912921 w 3523590"/>
                <a:gd name="connsiteY1" fmla="*/ 1976759 h 3669869"/>
                <a:gd name="connsiteX2" fmla="*/ 1915884 w 3523590"/>
                <a:gd name="connsiteY2" fmla="*/ 1256443 h 3669869"/>
                <a:gd name="connsiteX3" fmla="*/ 1918113 w 3523590"/>
                <a:gd name="connsiteY3" fmla="*/ 1244559 h 3669869"/>
                <a:gd name="connsiteX4" fmla="*/ 2062917 w 3523590"/>
                <a:gd name="connsiteY4" fmla="*/ 620781 h 3669869"/>
                <a:gd name="connsiteX5" fmla="*/ 1615884 w 3523590"/>
                <a:gd name="connsiteY5" fmla="*/ 51219 h 3669869"/>
                <a:gd name="connsiteX6" fmla="*/ 1436919 w 3523590"/>
                <a:gd name="connsiteY6" fmla="*/ 172997 h 3669869"/>
                <a:gd name="connsiteX7" fmla="*/ 1580981 w 3523590"/>
                <a:gd name="connsiteY7" fmla="*/ 461121 h 3669869"/>
                <a:gd name="connsiteX8" fmla="*/ 1722814 w 3523590"/>
                <a:gd name="connsiteY8" fmla="*/ 654199 h 3669869"/>
                <a:gd name="connsiteX9" fmla="*/ 1727271 w 3523590"/>
                <a:gd name="connsiteY9" fmla="*/ 678710 h 3669869"/>
                <a:gd name="connsiteX10" fmla="*/ 1712415 w 3523590"/>
                <a:gd name="connsiteY10" fmla="*/ 755194 h 3669869"/>
                <a:gd name="connsiteX11" fmla="*/ 1644845 w 3523590"/>
                <a:gd name="connsiteY11" fmla="*/ 760394 h 3669869"/>
                <a:gd name="connsiteX12" fmla="*/ 1494841 w 3523590"/>
                <a:gd name="connsiteY12" fmla="*/ 392065 h 3669869"/>
                <a:gd name="connsiteX13" fmla="*/ 977251 w 3523590"/>
                <a:gd name="connsiteY13" fmla="*/ 72752 h 3669869"/>
                <a:gd name="connsiteX14" fmla="*/ 637148 w 3523590"/>
                <a:gd name="connsiteY14" fmla="*/ 717 h 3669869"/>
                <a:gd name="connsiteX15" fmla="*/ 613386 w 3523590"/>
                <a:gd name="connsiteY15" fmla="*/ 3688 h 3669869"/>
                <a:gd name="connsiteX16" fmla="*/ 592589 w 3523590"/>
                <a:gd name="connsiteY16" fmla="*/ 184139 h 3669869"/>
                <a:gd name="connsiteX17" fmla="*/ 886654 w 3523590"/>
                <a:gd name="connsiteY17" fmla="*/ 350484 h 3669869"/>
                <a:gd name="connsiteX18" fmla="*/ 898539 w 3523590"/>
                <a:gd name="connsiteY18" fmla="*/ 355684 h 3669869"/>
                <a:gd name="connsiteX19" fmla="*/ 1134683 w 3523590"/>
                <a:gd name="connsiteY19" fmla="*/ 510879 h 3669869"/>
                <a:gd name="connsiteX20" fmla="*/ 1148045 w 3523590"/>
                <a:gd name="connsiteY20" fmla="*/ 526478 h 3669869"/>
                <a:gd name="connsiteX21" fmla="*/ 1205974 w 3523590"/>
                <a:gd name="connsiteY21" fmla="*/ 698015 h 3669869"/>
                <a:gd name="connsiteX22" fmla="*/ 1213395 w 3523590"/>
                <a:gd name="connsiteY22" fmla="*/ 705443 h 3669869"/>
                <a:gd name="connsiteX23" fmla="*/ 1383446 w 3523590"/>
                <a:gd name="connsiteY23" fmla="*/ 873266 h 3669869"/>
                <a:gd name="connsiteX24" fmla="*/ 1207453 w 3523590"/>
                <a:gd name="connsiteY24" fmla="*/ 712128 h 3669869"/>
                <a:gd name="connsiteX25" fmla="*/ 1033687 w 3523590"/>
                <a:gd name="connsiteY25" fmla="*/ 551725 h 3669869"/>
                <a:gd name="connsiteX26" fmla="*/ 986164 w 3523590"/>
                <a:gd name="connsiteY26" fmla="*/ 542069 h 3669869"/>
                <a:gd name="connsiteX27" fmla="*/ 937156 w 3523590"/>
                <a:gd name="connsiteY27" fmla="*/ 530935 h 3669869"/>
                <a:gd name="connsiteX28" fmla="*/ 839131 w 3523590"/>
                <a:gd name="connsiteY28" fmla="*/ 510879 h 3669869"/>
                <a:gd name="connsiteX29" fmla="*/ 641604 w 3523590"/>
                <a:gd name="connsiteY29" fmla="*/ 482661 h 3669869"/>
                <a:gd name="connsiteX30" fmla="*/ 593331 w 3523590"/>
                <a:gd name="connsiteY30" fmla="*/ 482661 h 3669869"/>
                <a:gd name="connsiteX31" fmla="*/ 548779 w 3523590"/>
                <a:gd name="connsiteY31" fmla="*/ 496774 h 3669869"/>
                <a:gd name="connsiteX32" fmla="*/ 461154 w 3523590"/>
                <a:gd name="connsiteY32" fmla="*/ 543554 h 3669869"/>
                <a:gd name="connsiteX33" fmla="*/ 291837 w 3523590"/>
                <a:gd name="connsiteY33" fmla="*/ 649749 h 3669869"/>
                <a:gd name="connsiteX34" fmla="*/ 207926 w 3523590"/>
                <a:gd name="connsiteY34" fmla="*/ 704700 h 3669869"/>
                <a:gd name="connsiteX35" fmla="*/ 165602 w 3523590"/>
                <a:gd name="connsiteY35" fmla="*/ 732168 h 3669869"/>
                <a:gd name="connsiteX36" fmla="*/ 144805 w 3523590"/>
                <a:gd name="connsiteY36" fmla="*/ 745545 h 3669869"/>
                <a:gd name="connsiteX37" fmla="*/ 128471 w 3523590"/>
                <a:gd name="connsiteY37" fmla="*/ 760394 h 3669869"/>
                <a:gd name="connsiteX38" fmla="*/ 118072 w 3523590"/>
                <a:gd name="connsiteY38" fmla="*/ 799753 h 3669869"/>
                <a:gd name="connsiteX39" fmla="*/ 138870 w 3523590"/>
                <a:gd name="connsiteY39" fmla="*/ 839848 h 3669869"/>
                <a:gd name="connsiteX40" fmla="*/ 217582 w 3523590"/>
                <a:gd name="connsiteY40" fmla="*/ 891085 h 3669869"/>
                <a:gd name="connsiteX41" fmla="*/ 263620 w 3523590"/>
                <a:gd name="connsiteY41" fmla="*/ 900741 h 3669869"/>
                <a:gd name="connsiteX42" fmla="*/ 311150 w 3523590"/>
                <a:gd name="connsiteY42" fmla="*/ 896285 h 3669869"/>
                <a:gd name="connsiteX43" fmla="*/ 406203 w 3523590"/>
                <a:gd name="connsiteY43" fmla="*/ 870295 h 3669869"/>
                <a:gd name="connsiteX44" fmla="*/ 591845 w 3523590"/>
                <a:gd name="connsiteY44" fmla="*/ 795289 h 3669869"/>
                <a:gd name="connsiteX45" fmla="*/ 617835 w 3523590"/>
                <a:gd name="connsiteY45" fmla="*/ 792325 h 3669869"/>
                <a:gd name="connsiteX46" fmla="*/ 848780 w 3523590"/>
                <a:gd name="connsiteY46" fmla="*/ 857668 h 3669869"/>
                <a:gd name="connsiteX47" fmla="*/ 868092 w 3523590"/>
                <a:gd name="connsiteY47" fmla="*/ 871781 h 3669869"/>
                <a:gd name="connsiteX48" fmla="*/ 1005469 w 3523590"/>
                <a:gd name="connsiteY48" fmla="*/ 1073764 h 3669869"/>
                <a:gd name="connsiteX49" fmla="*/ 1055970 w 3523590"/>
                <a:gd name="connsiteY49" fmla="*/ 1523776 h 3669869"/>
                <a:gd name="connsiteX50" fmla="*/ 646796 w 3523590"/>
                <a:gd name="connsiteY50" fmla="*/ 1641105 h 3669869"/>
                <a:gd name="connsiteX51" fmla="*/ 415852 w 3523590"/>
                <a:gd name="connsiteY51" fmla="*/ 1466597 h 3669869"/>
                <a:gd name="connsiteX52" fmla="*/ 403232 w 3523590"/>
                <a:gd name="connsiteY52" fmla="*/ 1445057 h 3669869"/>
                <a:gd name="connsiteX53" fmla="*/ 360901 w 3523590"/>
                <a:gd name="connsiteY53" fmla="*/ 1288375 h 3669869"/>
                <a:gd name="connsiteX54" fmla="*/ 0 w 3523590"/>
                <a:gd name="connsiteY54" fmla="*/ 1376743 h 3669869"/>
                <a:gd name="connsiteX55" fmla="*/ 22276 w 3523590"/>
                <a:gd name="connsiteY55" fmla="*/ 1500015 h 3669869"/>
                <a:gd name="connsiteX56" fmla="*/ 63121 w 3523590"/>
                <a:gd name="connsiteY56" fmla="*/ 1630707 h 3669869"/>
                <a:gd name="connsiteX57" fmla="*/ 130699 w 3523590"/>
                <a:gd name="connsiteY57" fmla="*/ 1748043 h 3669869"/>
                <a:gd name="connsiteX58" fmla="*/ 177479 w 3523590"/>
                <a:gd name="connsiteY58" fmla="*/ 1796309 h 3669869"/>
                <a:gd name="connsiteX59" fmla="*/ 229466 w 3523590"/>
                <a:gd name="connsiteY59" fmla="*/ 1842346 h 3669869"/>
                <a:gd name="connsiteX60" fmla="*/ 279218 w 3523590"/>
                <a:gd name="connsiteY60" fmla="*/ 1889876 h 3669869"/>
                <a:gd name="connsiteX61" fmla="*/ 328226 w 3523590"/>
                <a:gd name="connsiteY61" fmla="*/ 1938142 h 3669869"/>
                <a:gd name="connsiteX62" fmla="*/ 426250 w 3523590"/>
                <a:gd name="connsiteY62" fmla="*/ 2035416 h 3669869"/>
                <a:gd name="connsiteX63" fmla="*/ 620064 w 3523590"/>
                <a:gd name="connsiteY63" fmla="*/ 2230730 h 3669869"/>
                <a:gd name="connsiteX64" fmla="*/ 1009926 w 3523590"/>
                <a:gd name="connsiteY64" fmla="*/ 2619099 h 3669869"/>
                <a:gd name="connsiteX65" fmla="*/ 1059684 w 3523590"/>
                <a:gd name="connsiteY65" fmla="*/ 2666622 h 3669869"/>
                <a:gd name="connsiteX66" fmla="*/ 1109435 w 3523590"/>
                <a:gd name="connsiteY66" fmla="*/ 2713409 h 3669869"/>
                <a:gd name="connsiteX67" fmla="*/ 1213395 w 3523590"/>
                <a:gd name="connsiteY67" fmla="*/ 2801777 h 3669869"/>
                <a:gd name="connsiteX68" fmla="*/ 1431720 w 3523590"/>
                <a:gd name="connsiteY68" fmla="*/ 2968858 h 3669869"/>
                <a:gd name="connsiteX69" fmla="*/ 2310188 w 3523590"/>
                <a:gd name="connsiteY69" fmla="*/ 3631988 h 3669869"/>
                <a:gd name="connsiteX70" fmla="*/ 2360697 w 3523590"/>
                <a:gd name="connsiteY70" fmla="*/ 3669870 h 3669869"/>
                <a:gd name="connsiteX71" fmla="*/ 3523590 w 3523590"/>
                <a:gd name="connsiteY71" fmla="*/ 3669870 h 3669869"/>
                <a:gd name="connsiteX72" fmla="*/ 3523590 w 3523590"/>
                <a:gd name="connsiteY72" fmla="*/ 2730486 h 3669869"/>
                <a:gd name="connsiteX73" fmla="*/ 1933711 w 3523590"/>
                <a:gd name="connsiteY73" fmla="*/ 2008691 h 366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23590" h="3669869">
                  <a:moveTo>
                    <a:pt x="1933711" y="2008691"/>
                  </a:moveTo>
                  <a:cubicBezTo>
                    <a:pt x="1921084" y="2002749"/>
                    <a:pt x="1912921" y="1990122"/>
                    <a:pt x="1912921" y="1976759"/>
                  </a:cubicBezTo>
                  <a:lnTo>
                    <a:pt x="1915884" y="1256443"/>
                  </a:lnTo>
                  <a:cubicBezTo>
                    <a:pt x="1915884" y="1252729"/>
                    <a:pt x="1916628" y="1248273"/>
                    <a:pt x="1918113" y="1244559"/>
                  </a:cubicBezTo>
                  <a:cubicBezTo>
                    <a:pt x="1937425" y="1188865"/>
                    <a:pt x="2095600" y="733653"/>
                    <a:pt x="2062917" y="620781"/>
                  </a:cubicBezTo>
                  <a:cubicBezTo>
                    <a:pt x="2028022" y="500481"/>
                    <a:pt x="1639645" y="78694"/>
                    <a:pt x="1615884" y="51219"/>
                  </a:cubicBezTo>
                  <a:cubicBezTo>
                    <a:pt x="1572068" y="725"/>
                    <a:pt x="1436176" y="88343"/>
                    <a:pt x="1436919" y="172997"/>
                  </a:cubicBezTo>
                  <a:cubicBezTo>
                    <a:pt x="1437662" y="257659"/>
                    <a:pt x="1503004" y="383151"/>
                    <a:pt x="1580981" y="461121"/>
                  </a:cubicBezTo>
                  <a:cubicBezTo>
                    <a:pt x="1644102" y="524985"/>
                    <a:pt x="1702766" y="620781"/>
                    <a:pt x="1722814" y="654199"/>
                  </a:cubicBezTo>
                  <a:cubicBezTo>
                    <a:pt x="1727271" y="661626"/>
                    <a:pt x="1728756" y="670540"/>
                    <a:pt x="1727271" y="678710"/>
                  </a:cubicBezTo>
                  <a:lnTo>
                    <a:pt x="1712415" y="755194"/>
                  </a:lnTo>
                  <a:cubicBezTo>
                    <a:pt x="1705738" y="790097"/>
                    <a:pt x="1656722" y="793811"/>
                    <a:pt x="1644845" y="760394"/>
                  </a:cubicBezTo>
                  <a:cubicBezTo>
                    <a:pt x="1598800" y="631930"/>
                    <a:pt x="1503746" y="421026"/>
                    <a:pt x="1494841" y="392065"/>
                  </a:cubicBezTo>
                  <a:cubicBezTo>
                    <a:pt x="1479985" y="347513"/>
                    <a:pt x="1034430" y="82401"/>
                    <a:pt x="977251" y="72752"/>
                  </a:cubicBezTo>
                  <a:cubicBezTo>
                    <a:pt x="926757" y="64581"/>
                    <a:pt x="692098" y="13344"/>
                    <a:pt x="637148" y="717"/>
                  </a:cubicBezTo>
                  <a:cubicBezTo>
                    <a:pt x="628977" y="-768"/>
                    <a:pt x="620806" y="-25"/>
                    <a:pt x="613386" y="3688"/>
                  </a:cubicBezTo>
                  <a:cubicBezTo>
                    <a:pt x="581454" y="20772"/>
                    <a:pt x="502734" y="77208"/>
                    <a:pt x="592589" y="184139"/>
                  </a:cubicBezTo>
                  <a:cubicBezTo>
                    <a:pt x="691356" y="301468"/>
                    <a:pt x="853237" y="342313"/>
                    <a:pt x="886654" y="350484"/>
                  </a:cubicBezTo>
                  <a:cubicBezTo>
                    <a:pt x="891111" y="351227"/>
                    <a:pt x="894825" y="353455"/>
                    <a:pt x="898539" y="355684"/>
                  </a:cubicBezTo>
                  <a:lnTo>
                    <a:pt x="1134683" y="510879"/>
                  </a:lnTo>
                  <a:cubicBezTo>
                    <a:pt x="1140625" y="514593"/>
                    <a:pt x="1145081" y="520535"/>
                    <a:pt x="1148045" y="526478"/>
                  </a:cubicBezTo>
                  <a:cubicBezTo>
                    <a:pt x="1159187" y="552468"/>
                    <a:pt x="1192604" y="656427"/>
                    <a:pt x="1205974" y="698015"/>
                  </a:cubicBezTo>
                  <a:lnTo>
                    <a:pt x="1213395" y="705443"/>
                  </a:lnTo>
                  <a:lnTo>
                    <a:pt x="1383446" y="873266"/>
                  </a:lnTo>
                  <a:lnTo>
                    <a:pt x="1207453" y="712128"/>
                  </a:lnTo>
                  <a:lnTo>
                    <a:pt x="1033687" y="551725"/>
                  </a:lnTo>
                  <a:cubicBezTo>
                    <a:pt x="1018096" y="548754"/>
                    <a:pt x="1001755" y="545783"/>
                    <a:pt x="986164" y="542069"/>
                  </a:cubicBezTo>
                  <a:cubicBezTo>
                    <a:pt x="969823" y="538355"/>
                    <a:pt x="953489" y="534641"/>
                    <a:pt x="937156" y="530935"/>
                  </a:cubicBezTo>
                  <a:cubicBezTo>
                    <a:pt x="904481" y="524249"/>
                    <a:pt x="871806" y="517564"/>
                    <a:pt x="839131" y="510879"/>
                  </a:cubicBezTo>
                  <a:cubicBezTo>
                    <a:pt x="773782" y="498995"/>
                    <a:pt x="707689" y="487118"/>
                    <a:pt x="641604" y="482661"/>
                  </a:cubicBezTo>
                  <a:cubicBezTo>
                    <a:pt x="625263" y="481919"/>
                    <a:pt x="608929" y="481176"/>
                    <a:pt x="593331" y="482661"/>
                  </a:cubicBezTo>
                  <a:cubicBezTo>
                    <a:pt x="578483" y="484147"/>
                    <a:pt x="563627" y="490089"/>
                    <a:pt x="548779" y="496774"/>
                  </a:cubicBezTo>
                  <a:cubicBezTo>
                    <a:pt x="519076" y="510144"/>
                    <a:pt x="490115" y="526478"/>
                    <a:pt x="461154" y="543554"/>
                  </a:cubicBezTo>
                  <a:cubicBezTo>
                    <a:pt x="403975" y="576972"/>
                    <a:pt x="347531" y="613361"/>
                    <a:pt x="291837" y="649749"/>
                  </a:cubicBezTo>
                  <a:lnTo>
                    <a:pt x="207926" y="704700"/>
                  </a:lnTo>
                  <a:lnTo>
                    <a:pt x="165602" y="732168"/>
                  </a:lnTo>
                  <a:lnTo>
                    <a:pt x="144805" y="745545"/>
                  </a:lnTo>
                  <a:cubicBezTo>
                    <a:pt x="138862" y="750002"/>
                    <a:pt x="132928" y="755194"/>
                    <a:pt x="128471" y="760394"/>
                  </a:cubicBezTo>
                  <a:cubicBezTo>
                    <a:pt x="119558" y="771535"/>
                    <a:pt x="115844" y="785640"/>
                    <a:pt x="118072" y="799753"/>
                  </a:cubicBezTo>
                  <a:cubicBezTo>
                    <a:pt x="120300" y="813859"/>
                    <a:pt x="128471" y="827964"/>
                    <a:pt x="138870" y="839848"/>
                  </a:cubicBezTo>
                  <a:cubicBezTo>
                    <a:pt x="158918" y="863610"/>
                    <a:pt x="187878" y="880694"/>
                    <a:pt x="217582" y="891085"/>
                  </a:cubicBezTo>
                  <a:cubicBezTo>
                    <a:pt x="232430" y="896285"/>
                    <a:pt x="248771" y="899999"/>
                    <a:pt x="263620" y="900741"/>
                  </a:cubicBezTo>
                  <a:cubicBezTo>
                    <a:pt x="279218" y="901484"/>
                    <a:pt x="295551" y="899256"/>
                    <a:pt x="311150" y="896285"/>
                  </a:cubicBezTo>
                  <a:cubicBezTo>
                    <a:pt x="343082" y="890350"/>
                    <a:pt x="374271" y="879208"/>
                    <a:pt x="406203" y="870295"/>
                  </a:cubicBezTo>
                  <a:cubicBezTo>
                    <a:pt x="469317" y="850247"/>
                    <a:pt x="530953" y="823507"/>
                    <a:pt x="591845" y="795289"/>
                  </a:cubicBezTo>
                  <a:cubicBezTo>
                    <a:pt x="600016" y="790833"/>
                    <a:pt x="608929" y="790097"/>
                    <a:pt x="617835" y="792325"/>
                  </a:cubicBezTo>
                  <a:lnTo>
                    <a:pt x="848780" y="857668"/>
                  </a:lnTo>
                  <a:cubicBezTo>
                    <a:pt x="856951" y="859896"/>
                    <a:pt x="863635" y="865103"/>
                    <a:pt x="868092" y="871781"/>
                  </a:cubicBezTo>
                  <a:lnTo>
                    <a:pt x="1005469" y="1073764"/>
                  </a:lnTo>
                  <a:cubicBezTo>
                    <a:pt x="1005469" y="1073764"/>
                    <a:pt x="1208938" y="1402733"/>
                    <a:pt x="1055970" y="1523776"/>
                  </a:cubicBezTo>
                  <a:cubicBezTo>
                    <a:pt x="809428" y="1718339"/>
                    <a:pt x="729230" y="1696799"/>
                    <a:pt x="646796" y="1641105"/>
                  </a:cubicBezTo>
                  <a:cubicBezTo>
                    <a:pt x="576998" y="1593582"/>
                    <a:pt x="452983" y="1495558"/>
                    <a:pt x="415852" y="1466597"/>
                  </a:cubicBezTo>
                  <a:cubicBezTo>
                    <a:pt x="409167" y="1461398"/>
                    <a:pt x="404710" y="1453970"/>
                    <a:pt x="403232" y="1445057"/>
                  </a:cubicBezTo>
                  <a:cubicBezTo>
                    <a:pt x="398775" y="1419067"/>
                    <a:pt x="386148" y="1356696"/>
                    <a:pt x="360901" y="1288375"/>
                  </a:cubicBezTo>
                  <a:lnTo>
                    <a:pt x="0" y="1376743"/>
                  </a:lnTo>
                  <a:cubicBezTo>
                    <a:pt x="5942" y="1418331"/>
                    <a:pt x="12627" y="1459912"/>
                    <a:pt x="22276" y="1500015"/>
                  </a:cubicBezTo>
                  <a:cubicBezTo>
                    <a:pt x="32675" y="1544566"/>
                    <a:pt x="45302" y="1588375"/>
                    <a:pt x="63121" y="1630707"/>
                  </a:cubicBezTo>
                  <a:cubicBezTo>
                    <a:pt x="80198" y="1673037"/>
                    <a:pt x="102481" y="1712397"/>
                    <a:pt x="130699" y="1748043"/>
                  </a:cubicBezTo>
                  <a:cubicBezTo>
                    <a:pt x="144805" y="1765862"/>
                    <a:pt x="160403" y="1781461"/>
                    <a:pt x="177479" y="1796309"/>
                  </a:cubicBezTo>
                  <a:cubicBezTo>
                    <a:pt x="194564" y="1811164"/>
                    <a:pt x="213125" y="1826005"/>
                    <a:pt x="229466" y="1842346"/>
                  </a:cubicBezTo>
                  <a:cubicBezTo>
                    <a:pt x="246543" y="1857937"/>
                    <a:pt x="262877" y="1873535"/>
                    <a:pt x="279218" y="1889876"/>
                  </a:cubicBezTo>
                  <a:lnTo>
                    <a:pt x="328226" y="1938142"/>
                  </a:lnTo>
                  <a:cubicBezTo>
                    <a:pt x="360901" y="1970074"/>
                    <a:pt x="393576" y="2002742"/>
                    <a:pt x="426250" y="2035416"/>
                  </a:cubicBezTo>
                  <a:lnTo>
                    <a:pt x="620064" y="2230730"/>
                  </a:lnTo>
                  <a:cubicBezTo>
                    <a:pt x="749277" y="2360679"/>
                    <a:pt x="878484" y="2491378"/>
                    <a:pt x="1009926" y="2619099"/>
                  </a:cubicBezTo>
                  <a:cubicBezTo>
                    <a:pt x="1026259" y="2635440"/>
                    <a:pt x="1042600" y="2651031"/>
                    <a:pt x="1059684" y="2666622"/>
                  </a:cubicBezTo>
                  <a:cubicBezTo>
                    <a:pt x="1076018" y="2682213"/>
                    <a:pt x="1092352" y="2698561"/>
                    <a:pt x="1109435" y="2713409"/>
                  </a:cubicBezTo>
                  <a:cubicBezTo>
                    <a:pt x="1142853" y="2744598"/>
                    <a:pt x="1177013" y="2774302"/>
                    <a:pt x="1213395" y="2801777"/>
                  </a:cubicBezTo>
                  <a:cubicBezTo>
                    <a:pt x="1286172" y="2857471"/>
                    <a:pt x="1358942" y="2913165"/>
                    <a:pt x="1431720" y="2968858"/>
                  </a:cubicBezTo>
                  <a:lnTo>
                    <a:pt x="2310188" y="3631988"/>
                  </a:lnTo>
                  <a:lnTo>
                    <a:pt x="2360697" y="3669870"/>
                  </a:lnTo>
                  <a:lnTo>
                    <a:pt x="3523590" y="3669870"/>
                  </a:lnTo>
                  <a:lnTo>
                    <a:pt x="3523590" y="2730486"/>
                  </a:lnTo>
                  <a:lnTo>
                    <a:pt x="1933711" y="2008691"/>
                  </a:lnTo>
                  <a:close/>
                </a:path>
              </a:pathLst>
            </a:custGeom>
            <a:solidFill>
              <a:srgbClr val="1E2B3C"/>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ihåndsform: figur 10">
              <a:extLst>
                <a:ext uri="{FF2B5EF4-FFF2-40B4-BE49-F238E27FC236}">
                  <a16:creationId xmlns:a16="http://schemas.microsoft.com/office/drawing/2014/main" id="{A2B0C277-8B73-4FE8-AFF6-41A46A6D4F65}"/>
                </a:ext>
              </a:extLst>
            </p:cNvPr>
            <p:cNvSpPr/>
            <p:nvPr/>
          </p:nvSpPr>
          <p:spPr>
            <a:xfrm>
              <a:off x="10516701" y="5287591"/>
              <a:ext cx="380092" cy="352197"/>
            </a:xfrm>
            <a:custGeom>
              <a:avLst/>
              <a:gdLst>
                <a:gd name="connsiteX0" fmla="*/ 285782 w 380092"/>
                <a:gd name="connsiteY0" fmla="*/ 90806 h 352197"/>
                <a:gd name="connsiteX1" fmla="*/ 630 w 380092"/>
                <a:gd name="connsiteY1" fmla="*/ 104169 h 352197"/>
                <a:gd name="connsiteX2" fmla="*/ 17706 w 380092"/>
                <a:gd name="connsiteY2" fmla="*/ 341056 h 352197"/>
                <a:gd name="connsiteX3" fmla="*/ 19199 w 380092"/>
                <a:gd name="connsiteY3" fmla="*/ 352197 h 352197"/>
                <a:gd name="connsiteX4" fmla="*/ 380093 w 380092"/>
                <a:gd name="connsiteY4" fmla="*/ 263829 h 352197"/>
                <a:gd name="connsiteX5" fmla="*/ 285782 w 380092"/>
                <a:gd name="connsiteY5" fmla="*/ 90806 h 35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092" h="352197">
                  <a:moveTo>
                    <a:pt x="285782" y="90806"/>
                  </a:moveTo>
                  <a:cubicBezTo>
                    <a:pt x="189994" y="-22074"/>
                    <a:pt x="-12733" y="-42864"/>
                    <a:pt x="630" y="104169"/>
                  </a:cubicBezTo>
                  <a:cubicBezTo>
                    <a:pt x="5829" y="159119"/>
                    <a:pt x="7315" y="246009"/>
                    <a:pt x="17706" y="341056"/>
                  </a:cubicBezTo>
                  <a:cubicBezTo>
                    <a:pt x="18449" y="344769"/>
                    <a:pt x="18456" y="348483"/>
                    <a:pt x="19199" y="352197"/>
                  </a:cubicBezTo>
                  <a:lnTo>
                    <a:pt x="380093" y="263829"/>
                  </a:lnTo>
                  <a:cubicBezTo>
                    <a:pt x="358560" y="204421"/>
                    <a:pt x="328113" y="140557"/>
                    <a:pt x="285782" y="90806"/>
                  </a:cubicBezTo>
                  <a:close/>
                </a:path>
              </a:pathLst>
            </a:custGeom>
            <a:solidFill>
              <a:srgbClr val="F05F63"/>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ihåndsform: figur 11">
              <a:extLst>
                <a:ext uri="{FF2B5EF4-FFF2-40B4-BE49-F238E27FC236}">
                  <a16:creationId xmlns:a16="http://schemas.microsoft.com/office/drawing/2014/main" id="{DCB33F84-5AC7-4872-9AA3-7C2631F5FF38}"/>
                </a:ext>
              </a:extLst>
            </p:cNvPr>
            <p:cNvSpPr/>
            <p:nvPr/>
          </p:nvSpPr>
          <p:spPr>
            <a:xfrm>
              <a:off x="10631835" y="4724051"/>
              <a:ext cx="1285282" cy="456955"/>
            </a:xfrm>
            <a:custGeom>
              <a:avLst/>
              <a:gdLst>
                <a:gd name="connsiteX0" fmla="*/ 100106 w 1285282"/>
                <a:gd name="connsiteY0" fmla="*/ 226610 h 456955"/>
                <a:gd name="connsiteX1" fmla="*/ 57783 w 1285282"/>
                <a:gd name="connsiteY1" fmla="*/ 254078 h 456955"/>
                <a:gd name="connsiteX2" fmla="*/ 36243 w 1285282"/>
                <a:gd name="connsiteY2" fmla="*/ 267456 h 456955"/>
                <a:gd name="connsiteX3" fmla="*/ 15452 w 1285282"/>
                <a:gd name="connsiteY3" fmla="*/ 286018 h 456955"/>
                <a:gd name="connsiteX4" fmla="*/ 2090 w 1285282"/>
                <a:gd name="connsiteY4" fmla="*/ 312007 h 456955"/>
                <a:gd name="connsiteX5" fmla="*/ 1339 w 1285282"/>
                <a:gd name="connsiteY5" fmla="*/ 340968 h 456955"/>
                <a:gd name="connsiteX6" fmla="*/ 25851 w 1285282"/>
                <a:gd name="connsiteY6" fmla="*/ 389234 h 456955"/>
                <a:gd name="connsiteX7" fmla="*/ 112734 w 1285282"/>
                <a:gd name="connsiteY7" fmla="*/ 446413 h 456955"/>
                <a:gd name="connsiteX8" fmla="*/ 164713 w 1285282"/>
                <a:gd name="connsiteY8" fmla="*/ 456812 h 456955"/>
                <a:gd name="connsiteX9" fmla="*/ 216693 w 1285282"/>
                <a:gd name="connsiteY9" fmla="*/ 452355 h 456955"/>
                <a:gd name="connsiteX10" fmla="*/ 266444 w 1285282"/>
                <a:gd name="connsiteY10" fmla="*/ 440478 h 456955"/>
                <a:gd name="connsiteX11" fmla="*/ 313975 w 1285282"/>
                <a:gd name="connsiteY11" fmla="*/ 423394 h 456955"/>
                <a:gd name="connsiteX12" fmla="*/ 394172 w 1285282"/>
                <a:gd name="connsiteY12" fmla="*/ 387006 h 456955"/>
                <a:gd name="connsiteX13" fmla="*/ 493682 w 1285282"/>
                <a:gd name="connsiteY13" fmla="*/ 332798 h 456955"/>
                <a:gd name="connsiteX14" fmla="*/ 308033 w 1285282"/>
                <a:gd name="connsiteY14" fmla="*/ 407796 h 456955"/>
                <a:gd name="connsiteX15" fmla="*/ 212979 w 1285282"/>
                <a:gd name="connsiteY15" fmla="*/ 433786 h 456955"/>
                <a:gd name="connsiteX16" fmla="*/ 165456 w 1285282"/>
                <a:gd name="connsiteY16" fmla="*/ 438250 h 456955"/>
                <a:gd name="connsiteX17" fmla="*/ 119419 w 1285282"/>
                <a:gd name="connsiteY17" fmla="*/ 428586 h 456955"/>
                <a:gd name="connsiteX18" fmla="*/ 40699 w 1285282"/>
                <a:gd name="connsiteY18" fmla="*/ 377357 h 456955"/>
                <a:gd name="connsiteX19" fmla="*/ 19909 w 1285282"/>
                <a:gd name="connsiteY19" fmla="*/ 337254 h 456955"/>
                <a:gd name="connsiteX20" fmla="*/ 30308 w 1285282"/>
                <a:gd name="connsiteY20" fmla="*/ 297895 h 456955"/>
                <a:gd name="connsiteX21" fmla="*/ 46641 w 1285282"/>
                <a:gd name="connsiteY21" fmla="*/ 283047 h 456955"/>
                <a:gd name="connsiteX22" fmla="*/ 67432 w 1285282"/>
                <a:gd name="connsiteY22" fmla="*/ 269676 h 456955"/>
                <a:gd name="connsiteX23" fmla="*/ 109763 w 1285282"/>
                <a:gd name="connsiteY23" fmla="*/ 242201 h 456955"/>
                <a:gd name="connsiteX24" fmla="*/ 193675 w 1285282"/>
                <a:gd name="connsiteY24" fmla="*/ 187250 h 456955"/>
                <a:gd name="connsiteX25" fmla="*/ 362983 w 1285282"/>
                <a:gd name="connsiteY25" fmla="*/ 81056 h 456955"/>
                <a:gd name="connsiteX26" fmla="*/ 450609 w 1285282"/>
                <a:gd name="connsiteY26" fmla="*/ 34275 h 456955"/>
                <a:gd name="connsiteX27" fmla="*/ 495168 w 1285282"/>
                <a:gd name="connsiteY27" fmla="*/ 20162 h 456955"/>
                <a:gd name="connsiteX28" fmla="*/ 543433 w 1285282"/>
                <a:gd name="connsiteY28" fmla="*/ 20162 h 456955"/>
                <a:gd name="connsiteX29" fmla="*/ 740968 w 1285282"/>
                <a:gd name="connsiteY29" fmla="*/ 48388 h 456955"/>
                <a:gd name="connsiteX30" fmla="*/ 838985 w 1285282"/>
                <a:gd name="connsiteY30" fmla="*/ 68436 h 456955"/>
                <a:gd name="connsiteX31" fmla="*/ 888001 w 1285282"/>
                <a:gd name="connsiteY31" fmla="*/ 79570 h 456955"/>
                <a:gd name="connsiteX32" fmla="*/ 935524 w 1285282"/>
                <a:gd name="connsiteY32" fmla="*/ 89233 h 456955"/>
                <a:gd name="connsiteX33" fmla="*/ 1109289 w 1285282"/>
                <a:gd name="connsiteY33" fmla="*/ 249629 h 456955"/>
                <a:gd name="connsiteX34" fmla="*/ 1285283 w 1285282"/>
                <a:gd name="connsiteY34" fmla="*/ 410775 h 456955"/>
                <a:gd name="connsiteX35" fmla="*/ 1115232 w 1285282"/>
                <a:gd name="connsiteY35" fmla="*/ 242944 h 456955"/>
                <a:gd name="connsiteX36" fmla="*/ 1107804 w 1285282"/>
                <a:gd name="connsiteY36" fmla="*/ 235516 h 456955"/>
                <a:gd name="connsiteX37" fmla="*/ 944437 w 1285282"/>
                <a:gd name="connsiteY37" fmla="*/ 75121 h 456955"/>
                <a:gd name="connsiteX38" fmla="*/ 942952 w 1285282"/>
                <a:gd name="connsiteY38" fmla="*/ 73635 h 456955"/>
                <a:gd name="connsiteX39" fmla="*/ 940723 w 1285282"/>
                <a:gd name="connsiteY39" fmla="*/ 72892 h 456955"/>
                <a:gd name="connsiteX40" fmla="*/ 891707 w 1285282"/>
                <a:gd name="connsiteY40" fmla="*/ 60265 h 456955"/>
                <a:gd name="connsiteX41" fmla="*/ 842699 w 1285282"/>
                <a:gd name="connsiteY41" fmla="*/ 49866 h 456955"/>
                <a:gd name="connsiteX42" fmla="*/ 743932 w 1285282"/>
                <a:gd name="connsiteY42" fmla="*/ 29826 h 456955"/>
                <a:gd name="connsiteX43" fmla="*/ 644429 w 1285282"/>
                <a:gd name="connsiteY43" fmla="*/ 12735 h 456955"/>
                <a:gd name="connsiteX44" fmla="*/ 544177 w 1285282"/>
                <a:gd name="connsiteY44" fmla="*/ 858 h 456955"/>
                <a:gd name="connsiteX45" fmla="*/ 492197 w 1285282"/>
                <a:gd name="connsiteY45" fmla="*/ 858 h 456955"/>
                <a:gd name="connsiteX46" fmla="*/ 478827 w 1285282"/>
                <a:gd name="connsiteY46" fmla="*/ 3086 h 456955"/>
                <a:gd name="connsiteX47" fmla="*/ 466207 w 1285282"/>
                <a:gd name="connsiteY47" fmla="*/ 6800 h 456955"/>
                <a:gd name="connsiteX48" fmla="*/ 442446 w 1285282"/>
                <a:gd name="connsiteY48" fmla="*/ 16448 h 456955"/>
                <a:gd name="connsiteX49" fmla="*/ 353335 w 1285282"/>
                <a:gd name="connsiteY49" fmla="*/ 63979 h 456955"/>
                <a:gd name="connsiteX50" fmla="*/ 319917 w 1285282"/>
                <a:gd name="connsiteY50" fmla="*/ 84034 h 456955"/>
                <a:gd name="connsiteX51" fmla="*/ 182533 w 1285282"/>
                <a:gd name="connsiteY51" fmla="*/ 170917 h 456955"/>
                <a:gd name="connsiteX52" fmla="*/ 100106 w 1285282"/>
                <a:gd name="connsiteY52" fmla="*/ 226610 h 45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285282" h="456955">
                  <a:moveTo>
                    <a:pt x="100106" y="226610"/>
                  </a:moveTo>
                  <a:lnTo>
                    <a:pt x="57783" y="254078"/>
                  </a:lnTo>
                  <a:lnTo>
                    <a:pt x="36243" y="267456"/>
                  </a:lnTo>
                  <a:cubicBezTo>
                    <a:pt x="28815" y="272647"/>
                    <a:pt x="21394" y="278590"/>
                    <a:pt x="15452" y="286018"/>
                  </a:cubicBezTo>
                  <a:cubicBezTo>
                    <a:pt x="9510" y="293445"/>
                    <a:pt x="5053" y="302351"/>
                    <a:pt x="2090" y="312007"/>
                  </a:cubicBezTo>
                  <a:cubicBezTo>
                    <a:pt x="-139" y="321663"/>
                    <a:pt x="-881" y="331312"/>
                    <a:pt x="1339" y="340968"/>
                  </a:cubicBezTo>
                  <a:cubicBezTo>
                    <a:pt x="5053" y="359530"/>
                    <a:pt x="14710" y="375864"/>
                    <a:pt x="25851" y="389234"/>
                  </a:cubicBezTo>
                  <a:cubicBezTo>
                    <a:pt x="48870" y="415967"/>
                    <a:pt x="80059" y="434536"/>
                    <a:pt x="112734" y="446413"/>
                  </a:cubicBezTo>
                  <a:cubicBezTo>
                    <a:pt x="129068" y="452355"/>
                    <a:pt x="146152" y="456069"/>
                    <a:pt x="164713" y="456812"/>
                  </a:cubicBezTo>
                  <a:cubicBezTo>
                    <a:pt x="182533" y="457555"/>
                    <a:pt x="199617" y="455326"/>
                    <a:pt x="216693" y="452355"/>
                  </a:cubicBezTo>
                  <a:cubicBezTo>
                    <a:pt x="233777" y="449384"/>
                    <a:pt x="250111" y="444927"/>
                    <a:pt x="266444" y="440478"/>
                  </a:cubicBezTo>
                  <a:cubicBezTo>
                    <a:pt x="282786" y="436022"/>
                    <a:pt x="298377" y="430079"/>
                    <a:pt x="313975" y="423394"/>
                  </a:cubicBezTo>
                  <a:cubicBezTo>
                    <a:pt x="341450" y="412260"/>
                    <a:pt x="368182" y="399633"/>
                    <a:pt x="394172" y="387006"/>
                  </a:cubicBezTo>
                  <a:cubicBezTo>
                    <a:pt x="428333" y="369929"/>
                    <a:pt x="461751" y="352110"/>
                    <a:pt x="493682" y="332798"/>
                  </a:cubicBezTo>
                  <a:cubicBezTo>
                    <a:pt x="432789" y="361016"/>
                    <a:pt x="371154" y="387006"/>
                    <a:pt x="308033" y="407796"/>
                  </a:cubicBezTo>
                  <a:cubicBezTo>
                    <a:pt x="276100" y="417452"/>
                    <a:pt x="244911" y="428594"/>
                    <a:pt x="212979" y="433786"/>
                  </a:cubicBezTo>
                  <a:cubicBezTo>
                    <a:pt x="196645" y="436757"/>
                    <a:pt x="181047" y="438993"/>
                    <a:pt x="165456" y="438250"/>
                  </a:cubicBezTo>
                  <a:cubicBezTo>
                    <a:pt x="149865" y="437507"/>
                    <a:pt x="134267" y="433786"/>
                    <a:pt x="119419" y="428586"/>
                  </a:cubicBezTo>
                  <a:cubicBezTo>
                    <a:pt x="88972" y="418195"/>
                    <a:pt x="60747" y="401119"/>
                    <a:pt x="40699" y="377357"/>
                  </a:cubicBezTo>
                  <a:cubicBezTo>
                    <a:pt x="30308" y="365473"/>
                    <a:pt x="22880" y="352103"/>
                    <a:pt x="19909" y="337254"/>
                  </a:cubicBezTo>
                  <a:cubicBezTo>
                    <a:pt x="16938" y="323142"/>
                    <a:pt x="20652" y="309036"/>
                    <a:pt x="30308" y="297895"/>
                  </a:cubicBezTo>
                  <a:cubicBezTo>
                    <a:pt x="34757" y="291952"/>
                    <a:pt x="40699" y="287503"/>
                    <a:pt x="46641" y="283047"/>
                  </a:cubicBezTo>
                  <a:lnTo>
                    <a:pt x="67432" y="269676"/>
                  </a:lnTo>
                  <a:lnTo>
                    <a:pt x="109763" y="242201"/>
                  </a:lnTo>
                  <a:lnTo>
                    <a:pt x="193675" y="187250"/>
                  </a:lnTo>
                  <a:cubicBezTo>
                    <a:pt x="249368" y="150862"/>
                    <a:pt x="305804" y="114473"/>
                    <a:pt x="362983" y="81056"/>
                  </a:cubicBezTo>
                  <a:cubicBezTo>
                    <a:pt x="391944" y="63979"/>
                    <a:pt x="420905" y="47645"/>
                    <a:pt x="450609" y="34275"/>
                  </a:cubicBezTo>
                  <a:cubicBezTo>
                    <a:pt x="465464" y="27590"/>
                    <a:pt x="480312" y="20905"/>
                    <a:pt x="495168" y="20162"/>
                  </a:cubicBezTo>
                  <a:cubicBezTo>
                    <a:pt x="510759" y="18677"/>
                    <a:pt x="527100" y="19420"/>
                    <a:pt x="543433" y="20162"/>
                  </a:cubicBezTo>
                  <a:cubicBezTo>
                    <a:pt x="609526" y="24619"/>
                    <a:pt x="675618" y="36504"/>
                    <a:pt x="740968" y="48388"/>
                  </a:cubicBezTo>
                  <a:cubicBezTo>
                    <a:pt x="773635" y="54330"/>
                    <a:pt x="806310" y="61008"/>
                    <a:pt x="838985" y="68436"/>
                  </a:cubicBezTo>
                  <a:cubicBezTo>
                    <a:pt x="855326" y="72142"/>
                    <a:pt x="871660" y="75113"/>
                    <a:pt x="888001" y="79570"/>
                  </a:cubicBezTo>
                  <a:cubicBezTo>
                    <a:pt x="903592" y="83284"/>
                    <a:pt x="919183" y="86262"/>
                    <a:pt x="935524" y="89233"/>
                  </a:cubicBezTo>
                  <a:lnTo>
                    <a:pt x="1109289" y="249629"/>
                  </a:lnTo>
                  <a:lnTo>
                    <a:pt x="1285283" y="410775"/>
                  </a:lnTo>
                  <a:lnTo>
                    <a:pt x="1115232" y="242944"/>
                  </a:lnTo>
                  <a:lnTo>
                    <a:pt x="1107804" y="235516"/>
                  </a:lnTo>
                  <a:lnTo>
                    <a:pt x="944437" y="75121"/>
                  </a:lnTo>
                  <a:lnTo>
                    <a:pt x="942952" y="73635"/>
                  </a:lnTo>
                  <a:lnTo>
                    <a:pt x="940723" y="72892"/>
                  </a:lnTo>
                  <a:cubicBezTo>
                    <a:pt x="924382" y="68436"/>
                    <a:pt x="908048" y="63979"/>
                    <a:pt x="891707" y="60265"/>
                  </a:cubicBezTo>
                  <a:lnTo>
                    <a:pt x="842699" y="49866"/>
                  </a:lnTo>
                  <a:cubicBezTo>
                    <a:pt x="810024" y="43181"/>
                    <a:pt x="777349" y="36504"/>
                    <a:pt x="743932" y="29826"/>
                  </a:cubicBezTo>
                  <a:cubicBezTo>
                    <a:pt x="710514" y="23141"/>
                    <a:pt x="677847" y="17934"/>
                    <a:pt x="644429" y="12735"/>
                  </a:cubicBezTo>
                  <a:cubicBezTo>
                    <a:pt x="611012" y="7543"/>
                    <a:pt x="577594" y="3086"/>
                    <a:pt x="544177" y="858"/>
                  </a:cubicBezTo>
                  <a:cubicBezTo>
                    <a:pt x="527100" y="115"/>
                    <a:pt x="510016" y="-628"/>
                    <a:pt x="492197" y="858"/>
                  </a:cubicBezTo>
                  <a:cubicBezTo>
                    <a:pt x="487740" y="1600"/>
                    <a:pt x="483284" y="1600"/>
                    <a:pt x="478827" y="3086"/>
                  </a:cubicBezTo>
                  <a:cubicBezTo>
                    <a:pt x="474370" y="4571"/>
                    <a:pt x="469921" y="5314"/>
                    <a:pt x="466207" y="6800"/>
                  </a:cubicBezTo>
                  <a:cubicBezTo>
                    <a:pt x="458037" y="9771"/>
                    <a:pt x="449866" y="12735"/>
                    <a:pt x="442446" y="16448"/>
                  </a:cubicBezTo>
                  <a:cubicBezTo>
                    <a:pt x="411256" y="30561"/>
                    <a:pt x="382295" y="46902"/>
                    <a:pt x="353335" y="63979"/>
                  </a:cubicBezTo>
                  <a:cubicBezTo>
                    <a:pt x="342193" y="70664"/>
                    <a:pt x="331051" y="77349"/>
                    <a:pt x="319917" y="84034"/>
                  </a:cubicBezTo>
                  <a:cubicBezTo>
                    <a:pt x="273872" y="112252"/>
                    <a:pt x="227835" y="141213"/>
                    <a:pt x="182533" y="170917"/>
                  </a:cubicBezTo>
                  <a:lnTo>
                    <a:pt x="100106" y="226610"/>
                  </a:lnTo>
                  <a:close/>
                </a:path>
              </a:pathLst>
            </a:custGeom>
            <a:solidFill>
              <a:srgbClr val="EDCFC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ihåndsform: figur 12">
              <a:extLst>
                <a:ext uri="{FF2B5EF4-FFF2-40B4-BE49-F238E27FC236}">
                  <a16:creationId xmlns:a16="http://schemas.microsoft.com/office/drawing/2014/main" id="{5C5D8B4D-329C-441B-AE5D-31B40173231C}"/>
                </a:ext>
              </a:extLst>
            </p:cNvPr>
            <p:cNvSpPr/>
            <p:nvPr/>
          </p:nvSpPr>
          <p:spPr>
            <a:xfrm>
              <a:off x="10535150" y="5626411"/>
              <a:ext cx="2364425" cy="2304260"/>
            </a:xfrm>
            <a:custGeom>
              <a:avLst/>
              <a:gdLst>
                <a:gd name="connsiteX0" fmla="*/ 1433198 w 2364425"/>
                <a:gd name="connsiteY0" fmla="*/ 1603999 h 2304260"/>
                <a:gd name="connsiteX1" fmla="*/ 1214880 w 2364425"/>
                <a:gd name="connsiteY1" fmla="*/ 1436919 h 2304260"/>
                <a:gd name="connsiteX2" fmla="*/ 1110914 w 2364425"/>
                <a:gd name="connsiteY2" fmla="*/ 1348543 h 2304260"/>
                <a:gd name="connsiteX3" fmla="*/ 1061162 w 2364425"/>
                <a:gd name="connsiteY3" fmla="*/ 1301763 h 2304260"/>
                <a:gd name="connsiteX4" fmla="*/ 1011411 w 2364425"/>
                <a:gd name="connsiteY4" fmla="*/ 1254233 h 2304260"/>
                <a:gd name="connsiteX5" fmla="*/ 621549 w 2364425"/>
                <a:gd name="connsiteY5" fmla="*/ 865864 h 2304260"/>
                <a:gd name="connsiteX6" fmla="*/ 427728 w 2364425"/>
                <a:gd name="connsiteY6" fmla="*/ 670558 h 2304260"/>
                <a:gd name="connsiteX7" fmla="*/ 329712 w 2364425"/>
                <a:gd name="connsiteY7" fmla="*/ 573276 h 2304260"/>
                <a:gd name="connsiteX8" fmla="*/ 280696 w 2364425"/>
                <a:gd name="connsiteY8" fmla="*/ 525010 h 2304260"/>
                <a:gd name="connsiteX9" fmla="*/ 230944 w 2364425"/>
                <a:gd name="connsiteY9" fmla="*/ 477487 h 2304260"/>
                <a:gd name="connsiteX10" fmla="*/ 178965 w 2364425"/>
                <a:gd name="connsiteY10" fmla="*/ 431443 h 2304260"/>
                <a:gd name="connsiteX11" fmla="*/ 132177 w 2364425"/>
                <a:gd name="connsiteY11" fmla="*/ 383177 h 2304260"/>
                <a:gd name="connsiteX12" fmla="*/ 64607 w 2364425"/>
                <a:gd name="connsiteY12" fmla="*/ 265848 h 2304260"/>
                <a:gd name="connsiteX13" fmla="*/ 23761 w 2364425"/>
                <a:gd name="connsiteY13" fmla="*/ 135149 h 2304260"/>
                <a:gd name="connsiteX14" fmla="*/ 1486 w 2364425"/>
                <a:gd name="connsiteY14" fmla="*/ 11877 h 2304260"/>
                <a:gd name="connsiteX15" fmla="*/ 0 w 2364425"/>
                <a:gd name="connsiteY15" fmla="*/ 743 h 2304260"/>
                <a:gd name="connsiteX16" fmla="*/ 0 w 2364425"/>
                <a:gd name="connsiteY16" fmla="*/ 0 h 2304260"/>
                <a:gd name="connsiteX17" fmla="*/ 1486 w 2364425"/>
                <a:gd name="connsiteY17" fmla="*/ 11877 h 2304260"/>
                <a:gd name="connsiteX18" fmla="*/ 55693 w 2364425"/>
                <a:gd name="connsiteY18" fmla="*/ 269562 h 2304260"/>
                <a:gd name="connsiteX19" fmla="*/ 121786 w 2364425"/>
                <a:gd name="connsiteY19" fmla="*/ 392090 h 2304260"/>
                <a:gd name="connsiteX20" fmla="*/ 169309 w 2364425"/>
                <a:gd name="connsiteY20" fmla="*/ 444070 h 2304260"/>
                <a:gd name="connsiteX21" fmla="*/ 219060 w 2364425"/>
                <a:gd name="connsiteY21" fmla="*/ 490850 h 2304260"/>
                <a:gd name="connsiteX22" fmla="*/ 415109 w 2364425"/>
                <a:gd name="connsiteY22" fmla="*/ 683185 h 2304260"/>
                <a:gd name="connsiteX23" fmla="*/ 608922 w 2364425"/>
                <a:gd name="connsiteY23" fmla="*/ 878484 h 2304260"/>
                <a:gd name="connsiteX24" fmla="*/ 998784 w 2364425"/>
                <a:gd name="connsiteY24" fmla="*/ 1266860 h 2304260"/>
                <a:gd name="connsiteX25" fmla="*/ 1048535 w 2364425"/>
                <a:gd name="connsiteY25" fmla="*/ 1314390 h 2304260"/>
                <a:gd name="connsiteX26" fmla="*/ 1099037 w 2364425"/>
                <a:gd name="connsiteY26" fmla="*/ 1361913 h 2304260"/>
                <a:gd name="connsiteX27" fmla="*/ 1204481 w 2364425"/>
                <a:gd name="connsiteY27" fmla="*/ 1451024 h 2304260"/>
                <a:gd name="connsiteX28" fmla="*/ 1423549 w 2364425"/>
                <a:gd name="connsiteY28" fmla="*/ 1618104 h 2304260"/>
                <a:gd name="connsiteX29" fmla="*/ 2302033 w 2364425"/>
                <a:gd name="connsiteY29" fmla="*/ 2281235 h 2304260"/>
                <a:gd name="connsiteX30" fmla="*/ 2333229 w 2364425"/>
                <a:gd name="connsiteY30" fmla="*/ 2304261 h 2304260"/>
                <a:gd name="connsiteX31" fmla="*/ 2364426 w 2364425"/>
                <a:gd name="connsiteY31" fmla="*/ 2304261 h 2304260"/>
                <a:gd name="connsiteX32" fmla="*/ 2313917 w 2364425"/>
                <a:gd name="connsiteY32" fmla="*/ 2266386 h 2304260"/>
                <a:gd name="connsiteX33" fmla="*/ 1433198 w 2364425"/>
                <a:gd name="connsiteY33" fmla="*/ 1603999 h 23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64425" h="2304260">
                  <a:moveTo>
                    <a:pt x="1433198" y="1603999"/>
                  </a:moveTo>
                  <a:cubicBezTo>
                    <a:pt x="1360428" y="1548306"/>
                    <a:pt x="1286907" y="1493355"/>
                    <a:pt x="1214880" y="1436919"/>
                  </a:cubicBezTo>
                  <a:cubicBezTo>
                    <a:pt x="1178491" y="1409443"/>
                    <a:pt x="1144331" y="1379732"/>
                    <a:pt x="1110914" y="1348543"/>
                  </a:cubicBezTo>
                  <a:cubicBezTo>
                    <a:pt x="1093837" y="1332952"/>
                    <a:pt x="1077496" y="1317361"/>
                    <a:pt x="1061162" y="1301763"/>
                  </a:cubicBezTo>
                  <a:cubicBezTo>
                    <a:pt x="1044821" y="1286172"/>
                    <a:pt x="1027745" y="1269831"/>
                    <a:pt x="1011411" y="1254233"/>
                  </a:cubicBezTo>
                  <a:cubicBezTo>
                    <a:pt x="879969" y="1126512"/>
                    <a:pt x="750755" y="995813"/>
                    <a:pt x="621549" y="865864"/>
                  </a:cubicBezTo>
                  <a:lnTo>
                    <a:pt x="427728" y="670558"/>
                  </a:lnTo>
                  <a:cubicBezTo>
                    <a:pt x="395061" y="637883"/>
                    <a:pt x="363122" y="605951"/>
                    <a:pt x="329712" y="573276"/>
                  </a:cubicBezTo>
                  <a:lnTo>
                    <a:pt x="280696" y="525010"/>
                  </a:lnTo>
                  <a:cubicBezTo>
                    <a:pt x="264362" y="508669"/>
                    <a:pt x="247286" y="493078"/>
                    <a:pt x="230944" y="477487"/>
                  </a:cubicBezTo>
                  <a:cubicBezTo>
                    <a:pt x="214611" y="461889"/>
                    <a:pt x="196041" y="447041"/>
                    <a:pt x="178965" y="431443"/>
                  </a:cubicBezTo>
                  <a:cubicBezTo>
                    <a:pt x="161881" y="416594"/>
                    <a:pt x="146290" y="400996"/>
                    <a:pt x="132177" y="383177"/>
                  </a:cubicBezTo>
                  <a:cubicBezTo>
                    <a:pt x="103959" y="348274"/>
                    <a:pt x="81683" y="308179"/>
                    <a:pt x="64607" y="265848"/>
                  </a:cubicBezTo>
                  <a:cubicBezTo>
                    <a:pt x="47523" y="223517"/>
                    <a:pt x="34160" y="179700"/>
                    <a:pt x="23761" y="135149"/>
                  </a:cubicBezTo>
                  <a:cubicBezTo>
                    <a:pt x="14105" y="94303"/>
                    <a:pt x="7420" y="52723"/>
                    <a:pt x="1486" y="11877"/>
                  </a:cubicBezTo>
                  <a:cubicBezTo>
                    <a:pt x="743" y="8170"/>
                    <a:pt x="743" y="4456"/>
                    <a:pt x="0" y="743"/>
                  </a:cubicBezTo>
                  <a:lnTo>
                    <a:pt x="0" y="0"/>
                  </a:lnTo>
                  <a:cubicBezTo>
                    <a:pt x="0" y="3714"/>
                    <a:pt x="743" y="8170"/>
                    <a:pt x="1486" y="11877"/>
                  </a:cubicBezTo>
                  <a:cubicBezTo>
                    <a:pt x="9649" y="99503"/>
                    <a:pt x="24504" y="186393"/>
                    <a:pt x="55693" y="269562"/>
                  </a:cubicBezTo>
                  <a:cubicBezTo>
                    <a:pt x="72027" y="312628"/>
                    <a:pt x="93568" y="354216"/>
                    <a:pt x="121786" y="392090"/>
                  </a:cubicBezTo>
                  <a:cubicBezTo>
                    <a:pt x="135149" y="410652"/>
                    <a:pt x="151489" y="427736"/>
                    <a:pt x="169309" y="444070"/>
                  </a:cubicBezTo>
                  <a:cubicBezTo>
                    <a:pt x="186393" y="459661"/>
                    <a:pt x="202726" y="474516"/>
                    <a:pt x="219060" y="490850"/>
                  </a:cubicBezTo>
                  <a:cubicBezTo>
                    <a:pt x="285152" y="553971"/>
                    <a:pt x="350502" y="618578"/>
                    <a:pt x="415109" y="683185"/>
                  </a:cubicBezTo>
                  <a:lnTo>
                    <a:pt x="608922" y="878484"/>
                  </a:lnTo>
                  <a:cubicBezTo>
                    <a:pt x="738136" y="1008440"/>
                    <a:pt x="867342" y="1139132"/>
                    <a:pt x="998784" y="1266860"/>
                  </a:cubicBezTo>
                  <a:cubicBezTo>
                    <a:pt x="1015117" y="1283193"/>
                    <a:pt x="1031459" y="1298792"/>
                    <a:pt x="1048535" y="1314390"/>
                  </a:cubicBezTo>
                  <a:cubicBezTo>
                    <a:pt x="1065619" y="1329981"/>
                    <a:pt x="1081953" y="1346315"/>
                    <a:pt x="1099037" y="1361913"/>
                  </a:cubicBezTo>
                  <a:cubicBezTo>
                    <a:pt x="1132454" y="1393102"/>
                    <a:pt x="1168093" y="1423549"/>
                    <a:pt x="1204481" y="1451024"/>
                  </a:cubicBezTo>
                  <a:cubicBezTo>
                    <a:pt x="1277259" y="1507460"/>
                    <a:pt x="1350029" y="1562411"/>
                    <a:pt x="1423549" y="1618104"/>
                  </a:cubicBezTo>
                  <a:lnTo>
                    <a:pt x="2302033" y="2281235"/>
                  </a:lnTo>
                  <a:lnTo>
                    <a:pt x="2333229" y="2304261"/>
                  </a:lnTo>
                  <a:lnTo>
                    <a:pt x="2364426" y="2304261"/>
                  </a:lnTo>
                  <a:lnTo>
                    <a:pt x="2313917" y="2266386"/>
                  </a:lnTo>
                  <a:lnTo>
                    <a:pt x="1433198" y="1603999"/>
                  </a:lnTo>
                  <a:close/>
                </a:path>
              </a:pathLst>
            </a:custGeom>
            <a:solidFill>
              <a:srgbClr val="EDCFC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ihåndsform: figur 13">
              <a:extLst>
                <a:ext uri="{FF2B5EF4-FFF2-40B4-BE49-F238E27FC236}">
                  <a16:creationId xmlns:a16="http://schemas.microsoft.com/office/drawing/2014/main" id="{751FCFD0-A2E4-4F0D-AF55-25B30310E891}"/>
                </a:ext>
              </a:extLst>
            </p:cNvPr>
            <p:cNvSpPr/>
            <p:nvPr/>
          </p:nvSpPr>
          <p:spPr>
            <a:xfrm>
              <a:off x="7722235" y="3697149"/>
              <a:ext cx="394311" cy="582931"/>
            </a:xfrm>
            <a:custGeom>
              <a:avLst/>
              <a:gdLst>
                <a:gd name="connsiteX0" fmla="*/ 369064 w 394311"/>
                <a:gd name="connsiteY0" fmla="*/ 141091 h 582931"/>
                <a:gd name="connsiteX1" fmla="*/ 344560 w 394311"/>
                <a:gd name="connsiteY1" fmla="*/ 126985 h 582931"/>
                <a:gd name="connsiteX2" fmla="*/ 171537 w 394311"/>
                <a:gd name="connsiteY2" fmla="*/ 33418 h 582931"/>
                <a:gd name="connsiteX3" fmla="*/ 149261 w 394311"/>
                <a:gd name="connsiteY3" fmla="*/ 23761 h 582931"/>
                <a:gd name="connsiteX4" fmla="*/ 126978 w 394311"/>
                <a:gd name="connsiteY4" fmla="*/ 17084 h 582931"/>
                <a:gd name="connsiteX5" fmla="*/ 79455 w 394311"/>
                <a:gd name="connsiteY5" fmla="*/ 8913 h 582931"/>
                <a:gd name="connsiteX6" fmla="*/ 0 w 394311"/>
                <a:gd name="connsiteY6" fmla="*/ 0 h 582931"/>
                <a:gd name="connsiteX7" fmla="*/ 129949 w 394311"/>
                <a:gd name="connsiteY7" fmla="*/ 213868 h 582931"/>
                <a:gd name="connsiteX8" fmla="*/ 262134 w 394311"/>
                <a:gd name="connsiteY8" fmla="*/ 576997 h 582931"/>
                <a:gd name="connsiteX9" fmla="*/ 282182 w 394311"/>
                <a:gd name="connsiteY9" fmla="*/ 582932 h 582931"/>
                <a:gd name="connsiteX10" fmla="*/ 394311 w 394311"/>
                <a:gd name="connsiteY10" fmla="*/ 262141 h 582931"/>
                <a:gd name="connsiteX11" fmla="*/ 369064 w 394311"/>
                <a:gd name="connsiteY11" fmla="*/ 141091 h 58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4311" h="582931">
                  <a:moveTo>
                    <a:pt x="369064" y="141091"/>
                  </a:moveTo>
                  <a:lnTo>
                    <a:pt x="344560" y="126985"/>
                  </a:lnTo>
                  <a:cubicBezTo>
                    <a:pt x="287381" y="94310"/>
                    <a:pt x="230202" y="61636"/>
                    <a:pt x="171537" y="33418"/>
                  </a:cubicBezTo>
                  <a:cubicBezTo>
                    <a:pt x="164109" y="29704"/>
                    <a:pt x="156682" y="26733"/>
                    <a:pt x="149261" y="23761"/>
                  </a:cubicBezTo>
                  <a:cubicBezTo>
                    <a:pt x="141833" y="20790"/>
                    <a:pt x="135149" y="18569"/>
                    <a:pt x="126978" y="17084"/>
                  </a:cubicBezTo>
                  <a:cubicBezTo>
                    <a:pt x="111387" y="13370"/>
                    <a:pt x="95046" y="11142"/>
                    <a:pt x="79455" y="8913"/>
                  </a:cubicBezTo>
                  <a:cubicBezTo>
                    <a:pt x="53465" y="5199"/>
                    <a:pt x="26733" y="2971"/>
                    <a:pt x="0" y="0"/>
                  </a:cubicBezTo>
                  <a:cubicBezTo>
                    <a:pt x="42323" y="61636"/>
                    <a:pt x="110644" y="164117"/>
                    <a:pt x="129949" y="213868"/>
                  </a:cubicBezTo>
                  <a:cubicBezTo>
                    <a:pt x="158910" y="287388"/>
                    <a:pt x="196784" y="552486"/>
                    <a:pt x="262134" y="576997"/>
                  </a:cubicBezTo>
                  <a:cubicBezTo>
                    <a:pt x="268819" y="579218"/>
                    <a:pt x="275496" y="581447"/>
                    <a:pt x="282182" y="582932"/>
                  </a:cubicBezTo>
                  <a:cubicBezTo>
                    <a:pt x="297780" y="467089"/>
                    <a:pt x="337132" y="358680"/>
                    <a:pt x="394311" y="262141"/>
                  </a:cubicBezTo>
                  <a:cubicBezTo>
                    <a:pt x="386891" y="222781"/>
                    <a:pt x="377978" y="181193"/>
                    <a:pt x="369064" y="141091"/>
                  </a:cubicBezTo>
                  <a:close/>
                </a:path>
              </a:pathLst>
            </a:custGeom>
            <a:solidFill>
              <a:srgbClr val="1E2B3C"/>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ihåndsform: figur 14">
              <a:extLst>
                <a:ext uri="{FF2B5EF4-FFF2-40B4-BE49-F238E27FC236}">
                  <a16:creationId xmlns:a16="http://schemas.microsoft.com/office/drawing/2014/main" id="{9A119FD4-F040-43C8-89D8-B08C49E98672}"/>
                </a:ext>
              </a:extLst>
            </p:cNvPr>
            <p:cNvSpPr/>
            <p:nvPr/>
          </p:nvSpPr>
          <p:spPr>
            <a:xfrm>
              <a:off x="5185530" y="1694389"/>
              <a:ext cx="3685478" cy="2411492"/>
            </a:xfrm>
            <a:custGeom>
              <a:avLst/>
              <a:gdLst>
                <a:gd name="connsiteX0" fmla="*/ 1811925 w 3685478"/>
                <a:gd name="connsiteY0" fmla="*/ 1969350 h 2411492"/>
                <a:gd name="connsiteX1" fmla="*/ 2166141 w 3685478"/>
                <a:gd name="connsiteY1" fmla="*/ 1965636 h 2411492"/>
                <a:gd name="connsiteX2" fmla="*/ 2125296 w 3685478"/>
                <a:gd name="connsiteY2" fmla="*/ 1957473 h 2411492"/>
                <a:gd name="connsiteX3" fmla="*/ 2030243 w 3685478"/>
                <a:gd name="connsiteY3" fmla="*/ 1928512 h 2411492"/>
                <a:gd name="connsiteX4" fmla="*/ 1942617 w 3685478"/>
                <a:gd name="connsiteY4" fmla="*/ 1882474 h 2411492"/>
                <a:gd name="connsiteX5" fmla="*/ 2126782 w 3685478"/>
                <a:gd name="connsiteY5" fmla="*/ 1947074 h 2411492"/>
                <a:gd name="connsiteX6" fmla="*/ 2322823 w 3685478"/>
                <a:gd name="connsiteY6" fmla="*/ 1966386 h 2411492"/>
                <a:gd name="connsiteX7" fmla="*/ 2519614 w 3685478"/>
                <a:gd name="connsiteY7" fmla="*/ 1981234 h 2411492"/>
                <a:gd name="connsiteX8" fmla="*/ 2618374 w 3685478"/>
                <a:gd name="connsiteY8" fmla="*/ 1991625 h 2411492"/>
                <a:gd name="connsiteX9" fmla="*/ 2667390 w 3685478"/>
                <a:gd name="connsiteY9" fmla="*/ 2000539 h 2411492"/>
                <a:gd name="connsiteX10" fmla="*/ 2692637 w 3685478"/>
                <a:gd name="connsiteY10" fmla="*/ 2007967 h 2411492"/>
                <a:gd name="connsiteX11" fmla="*/ 2715656 w 3685478"/>
                <a:gd name="connsiteY11" fmla="*/ 2018365 h 2411492"/>
                <a:gd name="connsiteX12" fmla="*/ 2889421 w 3685478"/>
                <a:gd name="connsiteY12" fmla="*/ 2112676 h 2411492"/>
                <a:gd name="connsiteX13" fmla="*/ 3060216 w 3685478"/>
                <a:gd name="connsiteY13" fmla="*/ 2211443 h 2411492"/>
                <a:gd name="connsiteX14" fmla="*/ 3231760 w 3685478"/>
                <a:gd name="connsiteY14" fmla="*/ 2309460 h 2411492"/>
                <a:gd name="connsiteX15" fmla="*/ 3318643 w 3685478"/>
                <a:gd name="connsiteY15" fmla="*/ 2356248 h 2411492"/>
                <a:gd name="connsiteX16" fmla="*/ 3407011 w 3685478"/>
                <a:gd name="connsiteY16" fmla="*/ 2397086 h 2411492"/>
                <a:gd name="connsiteX17" fmla="*/ 3499836 w 3685478"/>
                <a:gd name="connsiteY17" fmla="*/ 2410456 h 2411492"/>
                <a:gd name="connsiteX18" fmla="*/ 3575577 w 3685478"/>
                <a:gd name="connsiteY18" fmla="*/ 2365161 h 2411492"/>
                <a:gd name="connsiteX19" fmla="*/ 3596368 w 3685478"/>
                <a:gd name="connsiteY19" fmla="*/ 2323566 h 2411492"/>
                <a:gd name="connsiteX20" fmla="*/ 3600082 w 3685478"/>
                <a:gd name="connsiteY20" fmla="*/ 2312431 h 2411492"/>
                <a:gd name="connsiteX21" fmla="*/ 3603053 w 3685478"/>
                <a:gd name="connsiteY21" fmla="*/ 2301290 h 2411492"/>
                <a:gd name="connsiteX22" fmla="*/ 3605281 w 3685478"/>
                <a:gd name="connsiteY22" fmla="*/ 2289413 h 2411492"/>
                <a:gd name="connsiteX23" fmla="*/ 3606024 w 3685478"/>
                <a:gd name="connsiteY23" fmla="*/ 2279014 h 2411492"/>
                <a:gd name="connsiteX24" fmla="*/ 3594147 w 3685478"/>
                <a:gd name="connsiteY24" fmla="*/ 2235947 h 2411492"/>
                <a:gd name="connsiteX25" fmla="*/ 3568150 w 3685478"/>
                <a:gd name="connsiteY25" fmla="*/ 2195845 h 2411492"/>
                <a:gd name="connsiteX26" fmla="*/ 3502065 w 3685478"/>
                <a:gd name="connsiteY26" fmla="*/ 2125296 h 2411492"/>
                <a:gd name="connsiteX27" fmla="*/ 3427059 w 3685478"/>
                <a:gd name="connsiteY27" fmla="*/ 2062175 h 2411492"/>
                <a:gd name="connsiteX28" fmla="*/ 3347604 w 3685478"/>
                <a:gd name="connsiteY28" fmla="*/ 2004253 h 2411492"/>
                <a:gd name="connsiteX29" fmla="*/ 3306759 w 3685478"/>
                <a:gd name="connsiteY29" fmla="*/ 1976777 h 2411492"/>
                <a:gd name="connsiteX30" fmla="*/ 3285968 w 3685478"/>
                <a:gd name="connsiteY30" fmla="*/ 1962672 h 2411492"/>
                <a:gd name="connsiteX31" fmla="*/ 3265913 w 3685478"/>
                <a:gd name="connsiteY31" fmla="*/ 1947816 h 2411492"/>
                <a:gd name="connsiteX32" fmla="*/ 3112946 w 3685478"/>
                <a:gd name="connsiteY32" fmla="*/ 1823067 h 2411492"/>
                <a:gd name="connsiteX33" fmla="*/ 2965170 w 3685478"/>
                <a:gd name="connsiteY33" fmla="*/ 1692368 h 2411492"/>
                <a:gd name="connsiteX34" fmla="*/ 2930267 w 3685478"/>
                <a:gd name="connsiteY34" fmla="*/ 1656722 h 2411492"/>
                <a:gd name="connsiteX35" fmla="*/ 2899077 w 3685478"/>
                <a:gd name="connsiteY35" fmla="*/ 1617369 h 2411492"/>
                <a:gd name="connsiteX36" fmla="*/ 2850812 w 3685478"/>
                <a:gd name="connsiteY36" fmla="*/ 1530479 h 2411492"/>
                <a:gd name="connsiteX37" fmla="*/ 2818880 w 3685478"/>
                <a:gd name="connsiteY37" fmla="*/ 1436911 h 2411492"/>
                <a:gd name="connsiteX38" fmla="*/ 2810709 w 3685478"/>
                <a:gd name="connsiteY38" fmla="*/ 1338895 h 2411492"/>
                <a:gd name="connsiteX39" fmla="*/ 2859718 w 3685478"/>
                <a:gd name="connsiteY39" fmla="*/ 1526773 h 2411492"/>
                <a:gd name="connsiteX40" fmla="*/ 2910962 w 3685478"/>
                <a:gd name="connsiteY40" fmla="*/ 1609942 h 2411492"/>
                <a:gd name="connsiteX41" fmla="*/ 2942887 w 3685478"/>
                <a:gd name="connsiteY41" fmla="*/ 1646330 h 2411492"/>
                <a:gd name="connsiteX42" fmla="*/ 2978532 w 3685478"/>
                <a:gd name="connsiteY42" fmla="*/ 1679740 h 2411492"/>
                <a:gd name="connsiteX43" fmla="*/ 3125565 w 3685478"/>
                <a:gd name="connsiteY43" fmla="*/ 1810440 h 2411492"/>
                <a:gd name="connsiteX44" fmla="*/ 3277798 w 3685478"/>
                <a:gd name="connsiteY44" fmla="*/ 1935197 h 2411492"/>
                <a:gd name="connsiteX45" fmla="*/ 3280769 w 3685478"/>
                <a:gd name="connsiteY45" fmla="*/ 1937418 h 2411492"/>
                <a:gd name="connsiteX46" fmla="*/ 3315672 w 3685478"/>
                <a:gd name="connsiteY46" fmla="*/ 1920341 h 2411492"/>
                <a:gd name="connsiteX47" fmla="*/ 3086213 w 3685478"/>
                <a:gd name="connsiteY47" fmla="*/ 1560183 h 2411492"/>
                <a:gd name="connsiteX48" fmla="*/ 3394384 w 3685478"/>
                <a:gd name="connsiteY48" fmla="*/ 1888416 h 2411492"/>
                <a:gd name="connsiteX49" fmla="*/ 3626814 w 3685478"/>
                <a:gd name="connsiteY49" fmla="*/ 1843857 h 2411492"/>
                <a:gd name="connsiteX50" fmla="*/ 3685479 w 3685478"/>
                <a:gd name="connsiteY50" fmla="*/ 1843107 h 2411492"/>
                <a:gd name="connsiteX51" fmla="*/ 3678801 w 3685478"/>
                <a:gd name="connsiteY51" fmla="*/ 1831230 h 2411492"/>
                <a:gd name="connsiteX52" fmla="*/ 3577063 w 3685478"/>
                <a:gd name="connsiteY52" fmla="*/ 1655979 h 2411492"/>
                <a:gd name="connsiteX53" fmla="*/ 3354289 w 3685478"/>
                <a:gd name="connsiteY53" fmla="*/ 1318097 h 2411492"/>
                <a:gd name="connsiteX54" fmla="*/ 3219876 w 3685478"/>
                <a:gd name="connsiteY54" fmla="*/ 1168835 h 2411492"/>
                <a:gd name="connsiteX55" fmla="*/ 3048339 w 3685478"/>
                <a:gd name="connsiteY55" fmla="*/ 1069333 h 2411492"/>
                <a:gd name="connsiteX56" fmla="*/ 2852297 w 3685478"/>
                <a:gd name="connsiteY56" fmla="*/ 1052999 h 2411492"/>
                <a:gd name="connsiteX57" fmla="*/ 2802539 w 3685478"/>
                <a:gd name="connsiteY57" fmla="*/ 1063391 h 2411492"/>
                <a:gd name="connsiteX58" fmla="*/ 2752787 w 3685478"/>
                <a:gd name="connsiteY58" fmla="*/ 1073047 h 2411492"/>
                <a:gd name="connsiteX59" fmla="*/ 2652535 w 3685478"/>
                <a:gd name="connsiteY59" fmla="*/ 1089380 h 2411492"/>
                <a:gd name="connsiteX60" fmla="*/ 2248567 w 3685478"/>
                <a:gd name="connsiteY60" fmla="*/ 1138396 h 2411492"/>
                <a:gd name="connsiteX61" fmla="*/ 2198073 w 3685478"/>
                <a:gd name="connsiteY61" fmla="*/ 1142110 h 2411492"/>
                <a:gd name="connsiteX62" fmla="*/ 2172819 w 3685478"/>
                <a:gd name="connsiteY62" fmla="*/ 1143588 h 2411492"/>
                <a:gd name="connsiteX63" fmla="*/ 2147572 w 3685478"/>
                <a:gd name="connsiteY63" fmla="*/ 1144331 h 2411492"/>
                <a:gd name="connsiteX64" fmla="*/ 2095592 w 3685478"/>
                <a:gd name="connsiteY64" fmla="*/ 1142846 h 2411492"/>
                <a:gd name="connsiteX65" fmla="*/ 2044355 w 3685478"/>
                <a:gd name="connsiteY65" fmla="*/ 1133197 h 2411492"/>
                <a:gd name="connsiteX66" fmla="*/ 2018366 w 3685478"/>
                <a:gd name="connsiteY66" fmla="*/ 1126512 h 2411492"/>
                <a:gd name="connsiteX67" fmla="*/ 1643352 w 3685478"/>
                <a:gd name="connsiteY67" fmla="*/ 973537 h 2411492"/>
                <a:gd name="connsiteX68" fmla="*/ 1177749 w 3685478"/>
                <a:gd name="connsiteY68" fmla="*/ 706949 h 2411492"/>
                <a:gd name="connsiteX69" fmla="*/ 1134675 w 3685478"/>
                <a:gd name="connsiteY69" fmla="*/ 682441 h 2411492"/>
                <a:gd name="connsiteX70" fmla="*/ 1150273 w 3685478"/>
                <a:gd name="connsiteY70" fmla="*/ 690610 h 2411492"/>
                <a:gd name="connsiteX71" fmla="*/ 0 w 3685478"/>
                <a:gd name="connsiteY71" fmla="*/ 0 h 2411492"/>
                <a:gd name="connsiteX72" fmla="*/ 0 w 3685478"/>
                <a:gd name="connsiteY72" fmla="*/ 1361913 h 2411492"/>
                <a:gd name="connsiteX73" fmla="*/ 1290621 w 3685478"/>
                <a:gd name="connsiteY73" fmla="*/ 1764395 h 2411492"/>
                <a:gd name="connsiteX74" fmla="*/ 1811925 w 3685478"/>
                <a:gd name="connsiteY74" fmla="*/ 1969350 h 241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685478" h="2411492">
                  <a:moveTo>
                    <a:pt x="1811925" y="1969350"/>
                  </a:moveTo>
                  <a:cubicBezTo>
                    <a:pt x="1924055" y="2010938"/>
                    <a:pt x="2063660" y="1986434"/>
                    <a:pt x="2166141" y="1965636"/>
                  </a:cubicBezTo>
                  <a:cubicBezTo>
                    <a:pt x="2152771" y="1963407"/>
                    <a:pt x="2138666" y="1960444"/>
                    <a:pt x="2125296" y="1957473"/>
                  </a:cubicBezTo>
                  <a:cubicBezTo>
                    <a:pt x="2092621" y="1950045"/>
                    <a:pt x="2061432" y="1941132"/>
                    <a:pt x="2030243" y="1928512"/>
                  </a:cubicBezTo>
                  <a:cubicBezTo>
                    <a:pt x="1999796" y="1915884"/>
                    <a:pt x="1970092" y="1901036"/>
                    <a:pt x="1942617" y="1882474"/>
                  </a:cubicBezTo>
                  <a:cubicBezTo>
                    <a:pt x="1999796" y="1915892"/>
                    <a:pt x="2062917" y="1935932"/>
                    <a:pt x="2126782" y="1947074"/>
                  </a:cubicBezTo>
                  <a:cubicBezTo>
                    <a:pt x="2191388" y="1958215"/>
                    <a:pt x="2256738" y="1961186"/>
                    <a:pt x="2322823" y="1966386"/>
                  </a:cubicBezTo>
                  <a:cubicBezTo>
                    <a:pt x="2388173" y="1972328"/>
                    <a:pt x="2453522" y="1976042"/>
                    <a:pt x="2519614" y="1981234"/>
                  </a:cubicBezTo>
                  <a:cubicBezTo>
                    <a:pt x="2552289" y="1984205"/>
                    <a:pt x="2585707" y="1987176"/>
                    <a:pt x="2618374" y="1991625"/>
                  </a:cubicBezTo>
                  <a:cubicBezTo>
                    <a:pt x="2634715" y="1993854"/>
                    <a:pt x="2651049" y="1996825"/>
                    <a:pt x="2667390" y="2000539"/>
                  </a:cubicBezTo>
                  <a:cubicBezTo>
                    <a:pt x="2675561" y="2002024"/>
                    <a:pt x="2684467" y="2004996"/>
                    <a:pt x="2692637" y="2007967"/>
                  </a:cubicBezTo>
                  <a:cubicBezTo>
                    <a:pt x="2700808" y="2010938"/>
                    <a:pt x="2708228" y="2014652"/>
                    <a:pt x="2715656" y="2018365"/>
                  </a:cubicBezTo>
                  <a:cubicBezTo>
                    <a:pt x="2775806" y="2047326"/>
                    <a:pt x="2832242" y="2080001"/>
                    <a:pt x="2889421" y="2112676"/>
                  </a:cubicBezTo>
                  <a:lnTo>
                    <a:pt x="3060216" y="2211443"/>
                  </a:lnTo>
                  <a:cubicBezTo>
                    <a:pt x="3117402" y="2244111"/>
                    <a:pt x="3173838" y="2277536"/>
                    <a:pt x="3231760" y="2309460"/>
                  </a:cubicBezTo>
                  <a:cubicBezTo>
                    <a:pt x="3260721" y="2325059"/>
                    <a:pt x="3288939" y="2341392"/>
                    <a:pt x="3318643" y="2356248"/>
                  </a:cubicBezTo>
                  <a:cubicBezTo>
                    <a:pt x="3347604" y="2371096"/>
                    <a:pt x="3377308" y="2385952"/>
                    <a:pt x="3407011" y="2397086"/>
                  </a:cubicBezTo>
                  <a:cubicBezTo>
                    <a:pt x="3436715" y="2407485"/>
                    <a:pt x="3468647" y="2414170"/>
                    <a:pt x="3499836" y="2410456"/>
                  </a:cubicBezTo>
                  <a:cubicBezTo>
                    <a:pt x="3530283" y="2407485"/>
                    <a:pt x="3557758" y="2390408"/>
                    <a:pt x="3575577" y="2365161"/>
                  </a:cubicBezTo>
                  <a:cubicBezTo>
                    <a:pt x="3584491" y="2352534"/>
                    <a:pt x="3591911" y="2338421"/>
                    <a:pt x="3596368" y="2323566"/>
                  </a:cubicBezTo>
                  <a:cubicBezTo>
                    <a:pt x="3597853" y="2319859"/>
                    <a:pt x="3598596" y="2316145"/>
                    <a:pt x="3600082" y="2312431"/>
                  </a:cubicBezTo>
                  <a:cubicBezTo>
                    <a:pt x="3600825" y="2308717"/>
                    <a:pt x="3602310" y="2305003"/>
                    <a:pt x="3603053" y="2301290"/>
                  </a:cubicBezTo>
                  <a:lnTo>
                    <a:pt x="3605281" y="2289413"/>
                  </a:lnTo>
                  <a:cubicBezTo>
                    <a:pt x="3605281" y="2285699"/>
                    <a:pt x="3606024" y="2282728"/>
                    <a:pt x="3606024" y="2279014"/>
                  </a:cubicBezTo>
                  <a:cubicBezTo>
                    <a:pt x="3606024" y="2264901"/>
                    <a:pt x="3600825" y="2250053"/>
                    <a:pt x="3594147" y="2235947"/>
                  </a:cubicBezTo>
                  <a:cubicBezTo>
                    <a:pt x="3586719" y="2221835"/>
                    <a:pt x="3578548" y="2208465"/>
                    <a:pt x="3568150" y="2195845"/>
                  </a:cubicBezTo>
                  <a:cubicBezTo>
                    <a:pt x="3548102" y="2170591"/>
                    <a:pt x="3525826" y="2147572"/>
                    <a:pt x="3502065" y="2125296"/>
                  </a:cubicBezTo>
                  <a:cubicBezTo>
                    <a:pt x="3478296" y="2103020"/>
                    <a:pt x="3453049" y="2082222"/>
                    <a:pt x="3427059" y="2062175"/>
                  </a:cubicBezTo>
                  <a:cubicBezTo>
                    <a:pt x="3401069" y="2042127"/>
                    <a:pt x="3375079" y="2022822"/>
                    <a:pt x="3347604" y="2004253"/>
                  </a:cubicBezTo>
                  <a:cubicBezTo>
                    <a:pt x="3334234" y="1995347"/>
                    <a:pt x="3320871" y="1985691"/>
                    <a:pt x="3306759" y="1976777"/>
                  </a:cubicBezTo>
                  <a:cubicBezTo>
                    <a:pt x="3300074" y="1972321"/>
                    <a:pt x="3293396" y="1967871"/>
                    <a:pt x="3285968" y="1962672"/>
                  </a:cubicBezTo>
                  <a:cubicBezTo>
                    <a:pt x="3278541" y="1957473"/>
                    <a:pt x="3272598" y="1953016"/>
                    <a:pt x="3265913" y="1947816"/>
                  </a:cubicBezTo>
                  <a:cubicBezTo>
                    <a:pt x="3213934" y="1906978"/>
                    <a:pt x="3163440" y="1865390"/>
                    <a:pt x="3112946" y="1823067"/>
                  </a:cubicBezTo>
                  <a:cubicBezTo>
                    <a:pt x="3062451" y="1780736"/>
                    <a:pt x="3012693" y="1737662"/>
                    <a:pt x="2965170" y="1692368"/>
                  </a:cubicBezTo>
                  <a:cubicBezTo>
                    <a:pt x="2953285" y="1680483"/>
                    <a:pt x="2941408" y="1669349"/>
                    <a:pt x="2930267" y="1656722"/>
                  </a:cubicBezTo>
                  <a:cubicBezTo>
                    <a:pt x="2919125" y="1644845"/>
                    <a:pt x="2907991" y="1630732"/>
                    <a:pt x="2899077" y="1617369"/>
                  </a:cubicBezTo>
                  <a:cubicBezTo>
                    <a:pt x="2880516" y="1589894"/>
                    <a:pt x="2864174" y="1560926"/>
                    <a:pt x="2850812" y="1530479"/>
                  </a:cubicBezTo>
                  <a:cubicBezTo>
                    <a:pt x="2837442" y="1500033"/>
                    <a:pt x="2826300" y="1468843"/>
                    <a:pt x="2818880" y="1436911"/>
                  </a:cubicBezTo>
                  <a:cubicBezTo>
                    <a:pt x="2811452" y="1404987"/>
                    <a:pt x="2808481" y="1371569"/>
                    <a:pt x="2810709" y="1338895"/>
                  </a:cubicBezTo>
                  <a:cubicBezTo>
                    <a:pt x="2809966" y="1404987"/>
                    <a:pt x="2830757" y="1468843"/>
                    <a:pt x="2859718" y="1526773"/>
                  </a:cubicBezTo>
                  <a:cubicBezTo>
                    <a:pt x="2874573" y="1555734"/>
                    <a:pt x="2891650" y="1583952"/>
                    <a:pt x="2910962" y="1609942"/>
                  </a:cubicBezTo>
                  <a:cubicBezTo>
                    <a:pt x="2920611" y="1623304"/>
                    <a:pt x="2931010" y="1635189"/>
                    <a:pt x="2942887" y="1646330"/>
                  </a:cubicBezTo>
                  <a:cubicBezTo>
                    <a:pt x="2954028" y="1658207"/>
                    <a:pt x="2966655" y="1668606"/>
                    <a:pt x="2978532" y="1679740"/>
                  </a:cubicBezTo>
                  <a:cubicBezTo>
                    <a:pt x="3026063" y="1724300"/>
                    <a:pt x="3075814" y="1768116"/>
                    <a:pt x="3125565" y="1810440"/>
                  </a:cubicBezTo>
                  <a:cubicBezTo>
                    <a:pt x="3176067" y="1852771"/>
                    <a:pt x="3226561" y="1895094"/>
                    <a:pt x="3277798" y="1935197"/>
                  </a:cubicBezTo>
                  <a:cubicBezTo>
                    <a:pt x="3278541" y="1935939"/>
                    <a:pt x="3279283" y="1936675"/>
                    <a:pt x="3280769" y="1937418"/>
                  </a:cubicBezTo>
                  <a:cubicBezTo>
                    <a:pt x="3291910" y="1931483"/>
                    <a:pt x="3303787" y="1926283"/>
                    <a:pt x="3315672" y="1920341"/>
                  </a:cubicBezTo>
                  <a:cubicBezTo>
                    <a:pt x="3255522" y="1830487"/>
                    <a:pt x="3069872" y="1554248"/>
                    <a:pt x="3086213" y="1560183"/>
                  </a:cubicBezTo>
                  <a:cubicBezTo>
                    <a:pt x="3162697" y="1590629"/>
                    <a:pt x="3282997" y="1739155"/>
                    <a:pt x="3394384" y="1888416"/>
                  </a:cubicBezTo>
                  <a:cubicBezTo>
                    <a:pt x="3467904" y="1863162"/>
                    <a:pt x="3545874" y="1848314"/>
                    <a:pt x="3626814" y="1843857"/>
                  </a:cubicBezTo>
                  <a:cubicBezTo>
                    <a:pt x="3646127" y="1843114"/>
                    <a:pt x="3666174" y="1842364"/>
                    <a:pt x="3685479" y="1843107"/>
                  </a:cubicBezTo>
                  <a:cubicBezTo>
                    <a:pt x="3683250" y="1839401"/>
                    <a:pt x="3681030" y="1835687"/>
                    <a:pt x="3678801" y="1831230"/>
                  </a:cubicBezTo>
                  <a:cubicBezTo>
                    <a:pt x="3646127" y="1771823"/>
                    <a:pt x="3610481" y="1714644"/>
                    <a:pt x="3577063" y="1655979"/>
                  </a:cubicBezTo>
                  <a:cubicBezTo>
                    <a:pt x="3508742" y="1539393"/>
                    <a:pt x="3435972" y="1425777"/>
                    <a:pt x="3354289" y="1318097"/>
                  </a:cubicBezTo>
                  <a:cubicBezTo>
                    <a:pt x="3313444" y="1264632"/>
                    <a:pt x="3271113" y="1211909"/>
                    <a:pt x="3219876" y="1168835"/>
                  </a:cubicBezTo>
                  <a:cubicBezTo>
                    <a:pt x="3169382" y="1125026"/>
                    <a:pt x="3111460" y="1090866"/>
                    <a:pt x="3048339" y="1069333"/>
                  </a:cubicBezTo>
                  <a:cubicBezTo>
                    <a:pt x="2985217" y="1048542"/>
                    <a:pt x="2917639" y="1041858"/>
                    <a:pt x="2852297" y="1052999"/>
                  </a:cubicBezTo>
                  <a:cubicBezTo>
                    <a:pt x="2836699" y="1055970"/>
                    <a:pt x="2819623" y="1060420"/>
                    <a:pt x="2802539" y="1063391"/>
                  </a:cubicBezTo>
                  <a:cubicBezTo>
                    <a:pt x="2786205" y="1066362"/>
                    <a:pt x="2769121" y="1069333"/>
                    <a:pt x="2752787" y="1073047"/>
                  </a:cubicBezTo>
                  <a:cubicBezTo>
                    <a:pt x="2719370" y="1078989"/>
                    <a:pt x="2685952" y="1084189"/>
                    <a:pt x="2652535" y="1089380"/>
                  </a:cubicBezTo>
                  <a:cubicBezTo>
                    <a:pt x="2518872" y="1110178"/>
                    <a:pt x="2383716" y="1127255"/>
                    <a:pt x="2248567" y="1138396"/>
                  </a:cubicBezTo>
                  <a:cubicBezTo>
                    <a:pt x="2231484" y="1139882"/>
                    <a:pt x="2214407" y="1141368"/>
                    <a:pt x="2198073" y="1142110"/>
                  </a:cubicBezTo>
                  <a:lnTo>
                    <a:pt x="2172819" y="1143588"/>
                  </a:lnTo>
                  <a:lnTo>
                    <a:pt x="2147572" y="1144331"/>
                  </a:lnTo>
                  <a:cubicBezTo>
                    <a:pt x="2131238" y="1145074"/>
                    <a:pt x="2112676" y="1145074"/>
                    <a:pt x="2095592" y="1142846"/>
                  </a:cubicBezTo>
                  <a:cubicBezTo>
                    <a:pt x="2078516" y="1140617"/>
                    <a:pt x="2061432" y="1137654"/>
                    <a:pt x="2044355" y="1133197"/>
                  </a:cubicBezTo>
                  <a:cubicBezTo>
                    <a:pt x="2035442" y="1130969"/>
                    <a:pt x="2027271" y="1128740"/>
                    <a:pt x="2018366" y="1126512"/>
                  </a:cubicBezTo>
                  <a:cubicBezTo>
                    <a:pt x="1857963" y="1097551"/>
                    <a:pt x="1733206" y="1006954"/>
                    <a:pt x="1643352" y="973537"/>
                  </a:cubicBezTo>
                  <a:cubicBezTo>
                    <a:pt x="1612905" y="962403"/>
                    <a:pt x="1428748" y="855465"/>
                    <a:pt x="1177749" y="706949"/>
                  </a:cubicBezTo>
                  <a:cubicBezTo>
                    <a:pt x="1163643" y="698780"/>
                    <a:pt x="1148788" y="690610"/>
                    <a:pt x="1134675" y="682441"/>
                  </a:cubicBezTo>
                  <a:cubicBezTo>
                    <a:pt x="1139875" y="685411"/>
                    <a:pt x="1145074" y="688383"/>
                    <a:pt x="1150273" y="690610"/>
                  </a:cubicBezTo>
                  <a:cubicBezTo>
                    <a:pt x="811648" y="489368"/>
                    <a:pt x="360899" y="218322"/>
                    <a:pt x="0" y="0"/>
                  </a:cubicBezTo>
                  <a:lnTo>
                    <a:pt x="0" y="1361913"/>
                  </a:lnTo>
                  <a:cubicBezTo>
                    <a:pt x="522042" y="1518602"/>
                    <a:pt x="1182948" y="1719100"/>
                    <a:pt x="1290621" y="1764395"/>
                  </a:cubicBezTo>
                  <a:cubicBezTo>
                    <a:pt x="1473300" y="1840143"/>
                    <a:pt x="1589144" y="1886181"/>
                    <a:pt x="1811925" y="1969350"/>
                  </a:cubicBezTo>
                  <a:close/>
                </a:path>
              </a:pathLst>
            </a:custGeom>
            <a:solidFill>
              <a:srgbClr val="1E2B3C"/>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ihåndsform: figur 15">
              <a:extLst>
                <a:ext uri="{FF2B5EF4-FFF2-40B4-BE49-F238E27FC236}">
                  <a16:creationId xmlns:a16="http://schemas.microsoft.com/office/drawing/2014/main" id="{A357338C-ACCE-4FEA-8F5E-404927CA7F3A}"/>
                </a:ext>
              </a:extLst>
            </p:cNvPr>
            <p:cNvSpPr/>
            <p:nvPr/>
          </p:nvSpPr>
          <p:spPr>
            <a:xfrm>
              <a:off x="6318734" y="2377571"/>
              <a:ext cx="2563430" cy="1161410"/>
            </a:xfrm>
            <a:custGeom>
              <a:avLst/>
              <a:gdLst>
                <a:gd name="connsiteX0" fmla="*/ 2563431 w 2563430"/>
                <a:gd name="connsiteY0" fmla="*/ 1159925 h 1161410"/>
                <a:gd name="connsiteX1" fmla="*/ 2555260 w 2563430"/>
                <a:gd name="connsiteY1" fmla="*/ 1142849 h 1161410"/>
                <a:gd name="connsiteX2" fmla="*/ 2509223 w 2563430"/>
                <a:gd name="connsiteY2" fmla="*/ 1052252 h 1161410"/>
                <a:gd name="connsiteX3" fmla="*/ 2484719 w 2563430"/>
                <a:gd name="connsiteY3" fmla="*/ 1007700 h 1161410"/>
                <a:gd name="connsiteX4" fmla="*/ 2458729 w 2563430"/>
                <a:gd name="connsiteY4" fmla="*/ 963884 h 1161410"/>
                <a:gd name="connsiteX5" fmla="*/ 2234462 w 2563430"/>
                <a:gd name="connsiteY5" fmla="*/ 623773 h 1161410"/>
                <a:gd name="connsiteX6" fmla="*/ 2203273 w 2563430"/>
                <a:gd name="connsiteY6" fmla="*/ 583678 h 1161410"/>
                <a:gd name="connsiteX7" fmla="*/ 2170598 w 2563430"/>
                <a:gd name="connsiteY7" fmla="*/ 544318 h 1161410"/>
                <a:gd name="connsiteX8" fmla="*/ 2097828 w 2563430"/>
                <a:gd name="connsiteY8" fmla="*/ 471548 h 1161410"/>
                <a:gd name="connsiteX9" fmla="*/ 1919606 w 2563430"/>
                <a:gd name="connsiteY9" fmla="*/ 369067 h 1161410"/>
                <a:gd name="connsiteX10" fmla="*/ 1714651 w 2563430"/>
                <a:gd name="connsiteY10" fmla="*/ 352733 h 1161410"/>
                <a:gd name="connsiteX11" fmla="*/ 1664892 w 2563430"/>
                <a:gd name="connsiteY11" fmla="*/ 363125 h 1161410"/>
                <a:gd name="connsiteX12" fmla="*/ 1615141 w 2563430"/>
                <a:gd name="connsiteY12" fmla="*/ 372038 h 1161410"/>
                <a:gd name="connsiteX13" fmla="*/ 1514888 w 2563430"/>
                <a:gd name="connsiteY13" fmla="*/ 388379 h 1161410"/>
                <a:gd name="connsiteX14" fmla="*/ 1112407 w 2563430"/>
                <a:gd name="connsiteY14" fmla="*/ 437388 h 1161410"/>
                <a:gd name="connsiteX15" fmla="*/ 1061913 w 2563430"/>
                <a:gd name="connsiteY15" fmla="*/ 441102 h 1161410"/>
                <a:gd name="connsiteX16" fmla="*/ 1036666 w 2563430"/>
                <a:gd name="connsiteY16" fmla="*/ 442587 h 1161410"/>
                <a:gd name="connsiteX17" fmla="*/ 1011411 w 2563430"/>
                <a:gd name="connsiteY17" fmla="*/ 443330 h 1161410"/>
                <a:gd name="connsiteX18" fmla="*/ 962403 w 2563430"/>
                <a:gd name="connsiteY18" fmla="*/ 441844 h 1161410"/>
                <a:gd name="connsiteX19" fmla="*/ 913394 w 2563430"/>
                <a:gd name="connsiteY19" fmla="*/ 432931 h 1161410"/>
                <a:gd name="connsiteX20" fmla="*/ 723287 w 2563430"/>
                <a:gd name="connsiteY20" fmla="*/ 366096 h 1161410"/>
                <a:gd name="connsiteX21" fmla="*/ 631205 w 2563430"/>
                <a:gd name="connsiteY21" fmla="*/ 325258 h 1161410"/>
                <a:gd name="connsiteX22" fmla="*/ 539123 w 2563430"/>
                <a:gd name="connsiteY22" fmla="*/ 282184 h 1161410"/>
                <a:gd name="connsiteX23" fmla="*/ 357930 w 2563430"/>
                <a:gd name="connsiteY23" fmla="*/ 191588 h 1161410"/>
                <a:gd name="connsiteX24" fmla="*/ 15598 w 2563430"/>
                <a:gd name="connsiteY24" fmla="*/ 8169 h 1161410"/>
                <a:gd name="connsiteX25" fmla="*/ 0 w 2563430"/>
                <a:gd name="connsiteY25" fmla="*/ 0 h 1161410"/>
                <a:gd name="connsiteX26" fmla="*/ 43074 w 2563430"/>
                <a:gd name="connsiteY26" fmla="*/ 24507 h 1161410"/>
                <a:gd name="connsiteX27" fmla="*/ 175258 w 2563430"/>
                <a:gd name="connsiteY27" fmla="*/ 101734 h 1161410"/>
                <a:gd name="connsiteX28" fmla="*/ 351995 w 2563430"/>
                <a:gd name="connsiteY28" fmla="*/ 201244 h 1161410"/>
                <a:gd name="connsiteX29" fmla="*/ 531703 w 2563430"/>
                <a:gd name="connsiteY29" fmla="*/ 297040 h 1161410"/>
                <a:gd name="connsiteX30" fmla="*/ 623042 w 2563430"/>
                <a:gd name="connsiteY30" fmla="*/ 342335 h 1161410"/>
                <a:gd name="connsiteX31" fmla="*/ 715860 w 2563430"/>
                <a:gd name="connsiteY31" fmla="*/ 383923 h 1161410"/>
                <a:gd name="connsiteX32" fmla="*/ 882948 w 2563430"/>
                <a:gd name="connsiteY32" fmla="*/ 444808 h 1161410"/>
                <a:gd name="connsiteX33" fmla="*/ 908938 w 2563430"/>
                <a:gd name="connsiteY33" fmla="*/ 451501 h 1161410"/>
                <a:gd name="connsiteX34" fmla="*/ 960174 w 2563430"/>
                <a:gd name="connsiteY34" fmla="*/ 461149 h 1161410"/>
                <a:gd name="connsiteX35" fmla="*/ 1012154 w 2563430"/>
                <a:gd name="connsiteY35" fmla="*/ 462635 h 1161410"/>
                <a:gd name="connsiteX36" fmla="*/ 1037401 w 2563430"/>
                <a:gd name="connsiteY36" fmla="*/ 461892 h 1161410"/>
                <a:gd name="connsiteX37" fmla="*/ 1062655 w 2563430"/>
                <a:gd name="connsiteY37" fmla="*/ 460406 h 1161410"/>
                <a:gd name="connsiteX38" fmla="*/ 1113149 w 2563430"/>
                <a:gd name="connsiteY38" fmla="*/ 456693 h 1161410"/>
                <a:gd name="connsiteX39" fmla="*/ 1517117 w 2563430"/>
                <a:gd name="connsiteY39" fmla="*/ 407684 h 1161410"/>
                <a:gd name="connsiteX40" fmla="*/ 1617369 w 2563430"/>
                <a:gd name="connsiteY40" fmla="*/ 391350 h 1161410"/>
                <a:gd name="connsiteX41" fmla="*/ 1667121 w 2563430"/>
                <a:gd name="connsiteY41" fmla="*/ 381694 h 1161410"/>
                <a:gd name="connsiteX42" fmla="*/ 1716872 w 2563430"/>
                <a:gd name="connsiteY42" fmla="*/ 371295 h 1161410"/>
                <a:gd name="connsiteX43" fmla="*/ 1912921 w 2563430"/>
                <a:gd name="connsiteY43" fmla="*/ 387637 h 1161410"/>
                <a:gd name="connsiteX44" fmla="*/ 2084458 w 2563430"/>
                <a:gd name="connsiteY44" fmla="*/ 487139 h 1161410"/>
                <a:gd name="connsiteX45" fmla="*/ 2218871 w 2563430"/>
                <a:gd name="connsiteY45" fmla="*/ 636400 h 1161410"/>
                <a:gd name="connsiteX46" fmla="*/ 2441645 w 2563430"/>
                <a:gd name="connsiteY46" fmla="*/ 974283 h 1161410"/>
                <a:gd name="connsiteX47" fmla="*/ 2543383 w 2563430"/>
                <a:gd name="connsiteY47" fmla="*/ 1149534 h 1161410"/>
                <a:gd name="connsiteX48" fmla="*/ 2550068 w 2563430"/>
                <a:gd name="connsiteY48" fmla="*/ 1161411 h 1161410"/>
                <a:gd name="connsiteX49" fmla="*/ 2563431 w 2563430"/>
                <a:gd name="connsiteY49" fmla="*/ 1159925 h 11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63430" h="1161410">
                  <a:moveTo>
                    <a:pt x="2563431" y="1159925"/>
                  </a:moveTo>
                  <a:cubicBezTo>
                    <a:pt x="2560460" y="1153983"/>
                    <a:pt x="2558231" y="1148791"/>
                    <a:pt x="2555260" y="1142849"/>
                  </a:cubicBezTo>
                  <a:cubicBezTo>
                    <a:pt x="2540412" y="1112402"/>
                    <a:pt x="2524814" y="1081956"/>
                    <a:pt x="2509223" y="1052252"/>
                  </a:cubicBezTo>
                  <a:cubicBezTo>
                    <a:pt x="2501052" y="1037396"/>
                    <a:pt x="2493625" y="1022548"/>
                    <a:pt x="2484719" y="1007700"/>
                  </a:cubicBezTo>
                  <a:lnTo>
                    <a:pt x="2458729" y="963884"/>
                  </a:lnTo>
                  <a:cubicBezTo>
                    <a:pt x="2389665" y="847297"/>
                    <a:pt x="2316888" y="732196"/>
                    <a:pt x="2234462" y="623773"/>
                  </a:cubicBezTo>
                  <a:lnTo>
                    <a:pt x="2203273" y="583678"/>
                  </a:lnTo>
                  <a:cubicBezTo>
                    <a:pt x="2192131" y="570308"/>
                    <a:pt x="2181740" y="557688"/>
                    <a:pt x="2170598" y="544318"/>
                  </a:cubicBezTo>
                  <a:cubicBezTo>
                    <a:pt x="2148322" y="518328"/>
                    <a:pt x="2123818" y="494567"/>
                    <a:pt x="2097828" y="471548"/>
                  </a:cubicBezTo>
                  <a:cubicBezTo>
                    <a:pt x="2045841" y="426989"/>
                    <a:pt x="1985691" y="390608"/>
                    <a:pt x="1919606" y="369067"/>
                  </a:cubicBezTo>
                  <a:cubicBezTo>
                    <a:pt x="1854256" y="347534"/>
                    <a:pt x="1782964" y="340106"/>
                    <a:pt x="1714651" y="352733"/>
                  </a:cubicBezTo>
                  <a:cubicBezTo>
                    <a:pt x="1697567" y="355705"/>
                    <a:pt x="1681234" y="360154"/>
                    <a:pt x="1664892" y="363125"/>
                  </a:cubicBezTo>
                  <a:cubicBezTo>
                    <a:pt x="1648559" y="366096"/>
                    <a:pt x="1631475" y="369067"/>
                    <a:pt x="1615141" y="372038"/>
                  </a:cubicBezTo>
                  <a:cubicBezTo>
                    <a:pt x="1581724" y="377980"/>
                    <a:pt x="1548306" y="383180"/>
                    <a:pt x="1514888" y="388379"/>
                  </a:cubicBezTo>
                  <a:cubicBezTo>
                    <a:pt x="1381225" y="409170"/>
                    <a:pt x="1246812" y="426246"/>
                    <a:pt x="1112407" y="437388"/>
                  </a:cubicBezTo>
                  <a:cubicBezTo>
                    <a:pt x="1095330" y="438873"/>
                    <a:pt x="1078989" y="440359"/>
                    <a:pt x="1061913" y="441102"/>
                  </a:cubicBezTo>
                  <a:lnTo>
                    <a:pt x="1036666" y="442587"/>
                  </a:lnTo>
                  <a:lnTo>
                    <a:pt x="1011411" y="443330"/>
                  </a:lnTo>
                  <a:cubicBezTo>
                    <a:pt x="994335" y="444073"/>
                    <a:pt x="978744" y="444073"/>
                    <a:pt x="962403" y="441844"/>
                  </a:cubicBezTo>
                  <a:cubicBezTo>
                    <a:pt x="946069" y="439616"/>
                    <a:pt x="929728" y="436645"/>
                    <a:pt x="913394" y="432931"/>
                  </a:cubicBezTo>
                  <a:cubicBezTo>
                    <a:pt x="848787" y="416597"/>
                    <a:pt x="785666" y="392093"/>
                    <a:pt x="723287" y="366096"/>
                  </a:cubicBezTo>
                  <a:cubicBezTo>
                    <a:pt x="692098" y="352733"/>
                    <a:pt x="661652" y="338621"/>
                    <a:pt x="631205" y="325258"/>
                  </a:cubicBezTo>
                  <a:cubicBezTo>
                    <a:pt x="600759" y="311145"/>
                    <a:pt x="569570" y="297040"/>
                    <a:pt x="539123" y="282184"/>
                  </a:cubicBezTo>
                  <a:cubicBezTo>
                    <a:pt x="478230" y="253223"/>
                    <a:pt x="418080" y="222777"/>
                    <a:pt x="357930" y="191588"/>
                  </a:cubicBezTo>
                  <a:cubicBezTo>
                    <a:pt x="242829" y="132180"/>
                    <a:pt x="129956" y="69059"/>
                    <a:pt x="15598" y="8169"/>
                  </a:cubicBezTo>
                  <a:cubicBezTo>
                    <a:pt x="10399" y="5199"/>
                    <a:pt x="5199" y="2228"/>
                    <a:pt x="0" y="0"/>
                  </a:cubicBezTo>
                  <a:cubicBezTo>
                    <a:pt x="14113" y="8168"/>
                    <a:pt x="28968" y="16339"/>
                    <a:pt x="43074" y="24507"/>
                  </a:cubicBezTo>
                  <a:cubicBezTo>
                    <a:pt x="87633" y="49754"/>
                    <a:pt x="131442" y="76487"/>
                    <a:pt x="175258" y="101734"/>
                  </a:cubicBezTo>
                  <a:cubicBezTo>
                    <a:pt x="233923" y="135151"/>
                    <a:pt x="292588" y="168569"/>
                    <a:pt x="351995" y="201244"/>
                  </a:cubicBezTo>
                  <a:cubicBezTo>
                    <a:pt x="411402" y="233919"/>
                    <a:pt x="470810" y="265851"/>
                    <a:pt x="531703" y="297040"/>
                  </a:cubicBezTo>
                  <a:cubicBezTo>
                    <a:pt x="562149" y="312631"/>
                    <a:pt x="592596" y="327486"/>
                    <a:pt x="623042" y="342335"/>
                  </a:cubicBezTo>
                  <a:cubicBezTo>
                    <a:pt x="653489" y="357190"/>
                    <a:pt x="684678" y="370553"/>
                    <a:pt x="715860" y="383923"/>
                  </a:cubicBezTo>
                  <a:cubicBezTo>
                    <a:pt x="770075" y="406941"/>
                    <a:pt x="825769" y="428474"/>
                    <a:pt x="882948" y="444808"/>
                  </a:cubicBezTo>
                  <a:cubicBezTo>
                    <a:pt x="891118" y="447036"/>
                    <a:pt x="900024" y="449272"/>
                    <a:pt x="908938" y="451501"/>
                  </a:cubicBezTo>
                  <a:cubicBezTo>
                    <a:pt x="925271" y="455207"/>
                    <a:pt x="942355" y="458921"/>
                    <a:pt x="960174" y="461149"/>
                  </a:cubicBezTo>
                  <a:cubicBezTo>
                    <a:pt x="977258" y="463378"/>
                    <a:pt x="995820" y="463378"/>
                    <a:pt x="1012154" y="462635"/>
                  </a:cubicBezTo>
                  <a:lnTo>
                    <a:pt x="1037401" y="461892"/>
                  </a:lnTo>
                  <a:lnTo>
                    <a:pt x="1062655" y="460406"/>
                  </a:lnTo>
                  <a:cubicBezTo>
                    <a:pt x="1079732" y="459664"/>
                    <a:pt x="1096816" y="458178"/>
                    <a:pt x="1113149" y="456693"/>
                  </a:cubicBezTo>
                  <a:cubicBezTo>
                    <a:pt x="1248298" y="445558"/>
                    <a:pt x="1382711" y="428474"/>
                    <a:pt x="1517117" y="407684"/>
                  </a:cubicBezTo>
                  <a:cubicBezTo>
                    <a:pt x="1550534" y="402485"/>
                    <a:pt x="1583952" y="397285"/>
                    <a:pt x="1617369" y="391350"/>
                  </a:cubicBezTo>
                  <a:cubicBezTo>
                    <a:pt x="1633703" y="388379"/>
                    <a:pt x="1650787" y="385401"/>
                    <a:pt x="1667121" y="381694"/>
                  </a:cubicBezTo>
                  <a:cubicBezTo>
                    <a:pt x="1683462" y="378723"/>
                    <a:pt x="1700538" y="374267"/>
                    <a:pt x="1716872" y="371295"/>
                  </a:cubicBezTo>
                  <a:cubicBezTo>
                    <a:pt x="1782221" y="360154"/>
                    <a:pt x="1849800" y="366839"/>
                    <a:pt x="1912921" y="387637"/>
                  </a:cubicBezTo>
                  <a:cubicBezTo>
                    <a:pt x="1976042" y="408427"/>
                    <a:pt x="2033964" y="443330"/>
                    <a:pt x="2084458" y="487139"/>
                  </a:cubicBezTo>
                  <a:cubicBezTo>
                    <a:pt x="2135695" y="530213"/>
                    <a:pt x="2178026" y="582192"/>
                    <a:pt x="2218871" y="636400"/>
                  </a:cubicBezTo>
                  <a:cubicBezTo>
                    <a:pt x="2300554" y="744081"/>
                    <a:pt x="2372582" y="858439"/>
                    <a:pt x="2441645" y="974283"/>
                  </a:cubicBezTo>
                  <a:cubicBezTo>
                    <a:pt x="2475063" y="1032947"/>
                    <a:pt x="2510709" y="1090869"/>
                    <a:pt x="2543383" y="1149534"/>
                  </a:cubicBezTo>
                  <a:cubicBezTo>
                    <a:pt x="2545604" y="1153248"/>
                    <a:pt x="2547840" y="1156954"/>
                    <a:pt x="2550068" y="1161411"/>
                  </a:cubicBezTo>
                  <a:cubicBezTo>
                    <a:pt x="2555260" y="1159925"/>
                    <a:pt x="2559717" y="1159925"/>
                    <a:pt x="2563431" y="1159925"/>
                  </a:cubicBezTo>
                  <a:close/>
                </a:path>
              </a:pathLst>
            </a:custGeom>
            <a:solidFill>
              <a:srgbClr val="EDCFC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ihåndsform: figur 16">
              <a:extLst>
                <a:ext uri="{FF2B5EF4-FFF2-40B4-BE49-F238E27FC236}">
                  <a16:creationId xmlns:a16="http://schemas.microsoft.com/office/drawing/2014/main" id="{37049386-1C2F-4EFA-BE7D-3983BF3956DF}"/>
                </a:ext>
              </a:extLst>
            </p:cNvPr>
            <p:cNvSpPr/>
            <p:nvPr/>
          </p:nvSpPr>
          <p:spPr>
            <a:xfrm>
              <a:off x="7129639" y="3031055"/>
              <a:ext cx="1681541" cy="1093664"/>
            </a:xfrm>
            <a:custGeom>
              <a:avLst/>
              <a:gdLst>
                <a:gd name="connsiteX0" fmla="*/ 720317 w 1681541"/>
                <a:gd name="connsiteY0" fmla="*/ 683185 h 1093664"/>
                <a:gd name="connsiteX1" fmla="*/ 742592 w 1681541"/>
                <a:gd name="connsiteY1" fmla="*/ 689870 h 1093664"/>
                <a:gd name="connsiteX2" fmla="*/ 764876 w 1681541"/>
                <a:gd name="connsiteY2" fmla="*/ 699519 h 1093664"/>
                <a:gd name="connsiteX3" fmla="*/ 937898 w 1681541"/>
                <a:gd name="connsiteY3" fmla="*/ 793094 h 1093664"/>
                <a:gd name="connsiteX4" fmla="*/ 962403 w 1681541"/>
                <a:gd name="connsiteY4" fmla="*/ 807199 h 1093664"/>
                <a:gd name="connsiteX5" fmla="*/ 1038887 w 1681541"/>
                <a:gd name="connsiteY5" fmla="*/ 851008 h 1093664"/>
                <a:gd name="connsiteX6" fmla="*/ 1108693 w 1681541"/>
                <a:gd name="connsiteY6" fmla="*/ 891111 h 1093664"/>
                <a:gd name="connsiteX7" fmla="*/ 1280230 w 1681541"/>
                <a:gd name="connsiteY7" fmla="*/ 989128 h 1093664"/>
                <a:gd name="connsiteX8" fmla="*/ 1367113 w 1681541"/>
                <a:gd name="connsiteY8" fmla="*/ 1035923 h 1093664"/>
                <a:gd name="connsiteX9" fmla="*/ 1457709 w 1681541"/>
                <a:gd name="connsiteY9" fmla="*/ 1078239 h 1093664"/>
                <a:gd name="connsiteX10" fmla="*/ 1558705 w 1681541"/>
                <a:gd name="connsiteY10" fmla="*/ 1092352 h 1093664"/>
                <a:gd name="connsiteX11" fmla="*/ 1647073 w 1681541"/>
                <a:gd name="connsiteY11" fmla="*/ 1039629 h 1093664"/>
                <a:gd name="connsiteX12" fmla="*/ 1670835 w 1681541"/>
                <a:gd name="connsiteY12" fmla="*/ 993592 h 1093664"/>
                <a:gd name="connsiteX13" fmla="*/ 1674548 w 1681541"/>
                <a:gd name="connsiteY13" fmla="*/ 980965 h 1093664"/>
                <a:gd name="connsiteX14" fmla="*/ 1677520 w 1681541"/>
                <a:gd name="connsiteY14" fmla="*/ 968337 h 1093664"/>
                <a:gd name="connsiteX15" fmla="*/ 1680491 w 1681541"/>
                <a:gd name="connsiteY15" fmla="*/ 955710 h 1093664"/>
                <a:gd name="connsiteX16" fmla="*/ 1681234 w 1681541"/>
                <a:gd name="connsiteY16" fmla="*/ 941612 h 1093664"/>
                <a:gd name="connsiteX17" fmla="*/ 1667121 w 1681541"/>
                <a:gd name="connsiteY17" fmla="*/ 890368 h 1093664"/>
                <a:gd name="connsiteX18" fmla="*/ 1639646 w 1681541"/>
                <a:gd name="connsiteY18" fmla="*/ 847302 h 1093664"/>
                <a:gd name="connsiteX19" fmla="*/ 1571325 w 1681541"/>
                <a:gd name="connsiteY19" fmla="*/ 774524 h 1093664"/>
                <a:gd name="connsiteX20" fmla="*/ 1495584 w 1681541"/>
                <a:gd name="connsiteY20" fmla="*/ 710660 h 1093664"/>
                <a:gd name="connsiteX21" fmla="*/ 1415386 w 1681541"/>
                <a:gd name="connsiteY21" fmla="*/ 651996 h 1093664"/>
                <a:gd name="connsiteX22" fmla="*/ 1374541 w 1681541"/>
                <a:gd name="connsiteY22" fmla="*/ 624520 h 1093664"/>
                <a:gd name="connsiteX23" fmla="*/ 1354493 w 1681541"/>
                <a:gd name="connsiteY23" fmla="*/ 611158 h 1093664"/>
                <a:gd name="connsiteX24" fmla="*/ 1338152 w 1681541"/>
                <a:gd name="connsiteY24" fmla="*/ 598531 h 1093664"/>
                <a:gd name="connsiteX25" fmla="*/ 1335181 w 1681541"/>
                <a:gd name="connsiteY25" fmla="*/ 596302 h 1093664"/>
                <a:gd name="connsiteX26" fmla="*/ 1182948 w 1681541"/>
                <a:gd name="connsiteY26" fmla="*/ 471553 h 1093664"/>
                <a:gd name="connsiteX27" fmla="*/ 1035916 w 1681541"/>
                <a:gd name="connsiteY27" fmla="*/ 340846 h 1093664"/>
                <a:gd name="connsiteX28" fmla="*/ 1000277 w 1681541"/>
                <a:gd name="connsiteY28" fmla="*/ 307436 h 1093664"/>
                <a:gd name="connsiteX29" fmla="*/ 968345 w 1681541"/>
                <a:gd name="connsiteY29" fmla="*/ 271047 h 1093664"/>
                <a:gd name="connsiteX30" fmla="*/ 917101 w 1681541"/>
                <a:gd name="connsiteY30" fmla="*/ 187878 h 1093664"/>
                <a:gd name="connsiteX31" fmla="*/ 868092 w 1681541"/>
                <a:gd name="connsiteY31" fmla="*/ 0 h 1093664"/>
                <a:gd name="connsiteX32" fmla="*/ 876263 w 1681541"/>
                <a:gd name="connsiteY32" fmla="*/ 98024 h 1093664"/>
                <a:gd name="connsiteX33" fmla="*/ 908195 w 1681541"/>
                <a:gd name="connsiteY33" fmla="*/ 191592 h 1093664"/>
                <a:gd name="connsiteX34" fmla="*/ 956460 w 1681541"/>
                <a:gd name="connsiteY34" fmla="*/ 278475 h 1093664"/>
                <a:gd name="connsiteX35" fmla="*/ 987650 w 1681541"/>
                <a:gd name="connsiteY35" fmla="*/ 317835 h 1093664"/>
                <a:gd name="connsiteX36" fmla="*/ 1022553 w 1681541"/>
                <a:gd name="connsiteY36" fmla="*/ 353473 h 1093664"/>
                <a:gd name="connsiteX37" fmla="*/ 1170329 w 1681541"/>
                <a:gd name="connsiteY37" fmla="*/ 484165 h 1093664"/>
                <a:gd name="connsiteX38" fmla="*/ 1323304 w 1681541"/>
                <a:gd name="connsiteY38" fmla="*/ 608929 h 1093664"/>
                <a:gd name="connsiteX39" fmla="*/ 1343351 w 1681541"/>
                <a:gd name="connsiteY39" fmla="*/ 623777 h 1093664"/>
                <a:gd name="connsiteX40" fmla="*/ 1364142 w 1681541"/>
                <a:gd name="connsiteY40" fmla="*/ 637883 h 1093664"/>
                <a:gd name="connsiteX41" fmla="*/ 1404987 w 1681541"/>
                <a:gd name="connsiteY41" fmla="*/ 665366 h 1093664"/>
                <a:gd name="connsiteX42" fmla="*/ 1484442 w 1681541"/>
                <a:gd name="connsiteY42" fmla="*/ 723287 h 1093664"/>
                <a:gd name="connsiteX43" fmla="*/ 1559448 w 1681541"/>
                <a:gd name="connsiteY43" fmla="*/ 786401 h 1093664"/>
                <a:gd name="connsiteX44" fmla="*/ 1625540 w 1681541"/>
                <a:gd name="connsiteY44" fmla="*/ 856950 h 1093664"/>
                <a:gd name="connsiteX45" fmla="*/ 1651530 w 1681541"/>
                <a:gd name="connsiteY45" fmla="*/ 897053 h 1093664"/>
                <a:gd name="connsiteX46" fmla="*/ 1663407 w 1681541"/>
                <a:gd name="connsiteY46" fmla="*/ 940119 h 1093664"/>
                <a:gd name="connsiteX47" fmla="*/ 1662664 w 1681541"/>
                <a:gd name="connsiteY47" fmla="*/ 950518 h 1093664"/>
                <a:gd name="connsiteX48" fmla="*/ 1660436 w 1681541"/>
                <a:gd name="connsiteY48" fmla="*/ 962403 h 1093664"/>
                <a:gd name="connsiteX49" fmla="*/ 1657472 w 1681541"/>
                <a:gd name="connsiteY49" fmla="*/ 973537 h 1093664"/>
                <a:gd name="connsiteX50" fmla="*/ 1653758 w 1681541"/>
                <a:gd name="connsiteY50" fmla="*/ 984679 h 1093664"/>
                <a:gd name="connsiteX51" fmla="*/ 1632960 w 1681541"/>
                <a:gd name="connsiteY51" fmla="*/ 1026259 h 1093664"/>
                <a:gd name="connsiteX52" fmla="*/ 1557219 w 1681541"/>
                <a:gd name="connsiteY52" fmla="*/ 1071561 h 1093664"/>
                <a:gd name="connsiteX53" fmla="*/ 1464394 w 1681541"/>
                <a:gd name="connsiteY53" fmla="*/ 1058199 h 1093664"/>
                <a:gd name="connsiteX54" fmla="*/ 1376026 w 1681541"/>
                <a:gd name="connsiteY54" fmla="*/ 1017353 h 1093664"/>
                <a:gd name="connsiteX55" fmla="*/ 1289143 w 1681541"/>
                <a:gd name="connsiteY55" fmla="*/ 970566 h 1093664"/>
                <a:gd name="connsiteX56" fmla="*/ 1117606 w 1681541"/>
                <a:gd name="connsiteY56" fmla="*/ 872549 h 1093664"/>
                <a:gd name="connsiteX57" fmla="*/ 946804 w 1681541"/>
                <a:gd name="connsiteY57" fmla="*/ 773782 h 1093664"/>
                <a:gd name="connsiteX58" fmla="*/ 773039 w 1681541"/>
                <a:gd name="connsiteY58" fmla="*/ 679479 h 1093664"/>
                <a:gd name="connsiteX59" fmla="*/ 750020 w 1681541"/>
                <a:gd name="connsiteY59" fmla="*/ 669079 h 1093664"/>
                <a:gd name="connsiteX60" fmla="*/ 724773 w 1681541"/>
                <a:gd name="connsiteY60" fmla="*/ 661652 h 1093664"/>
                <a:gd name="connsiteX61" fmla="*/ 675765 w 1681541"/>
                <a:gd name="connsiteY61" fmla="*/ 652738 h 1093664"/>
                <a:gd name="connsiteX62" fmla="*/ 576997 w 1681541"/>
                <a:gd name="connsiteY62" fmla="*/ 642347 h 1093664"/>
                <a:gd name="connsiteX63" fmla="*/ 380213 w 1681541"/>
                <a:gd name="connsiteY63" fmla="*/ 627491 h 1093664"/>
                <a:gd name="connsiteX64" fmla="*/ 184164 w 1681541"/>
                <a:gd name="connsiteY64" fmla="*/ 608179 h 1093664"/>
                <a:gd name="connsiteX65" fmla="*/ 0 w 1681541"/>
                <a:gd name="connsiteY65" fmla="*/ 543572 h 1093664"/>
                <a:gd name="connsiteX66" fmla="*/ 87626 w 1681541"/>
                <a:gd name="connsiteY66" fmla="*/ 589617 h 1093664"/>
                <a:gd name="connsiteX67" fmla="*/ 182679 w 1681541"/>
                <a:gd name="connsiteY67" fmla="*/ 618578 h 1093664"/>
                <a:gd name="connsiteX68" fmla="*/ 223524 w 1681541"/>
                <a:gd name="connsiteY68" fmla="*/ 626749 h 1093664"/>
                <a:gd name="connsiteX69" fmla="*/ 378728 w 1681541"/>
                <a:gd name="connsiteY69" fmla="*/ 647539 h 1093664"/>
                <a:gd name="connsiteX70" fmla="*/ 575512 w 1681541"/>
                <a:gd name="connsiteY70" fmla="*/ 662387 h 1093664"/>
                <a:gd name="connsiteX71" fmla="*/ 593331 w 1681541"/>
                <a:gd name="connsiteY71" fmla="*/ 663880 h 1093664"/>
                <a:gd name="connsiteX72" fmla="*/ 672794 w 1681541"/>
                <a:gd name="connsiteY72" fmla="*/ 672786 h 1093664"/>
                <a:gd name="connsiteX73" fmla="*/ 720317 w 1681541"/>
                <a:gd name="connsiteY73" fmla="*/ 683185 h 109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681541" h="1093664">
                  <a:moveTo>
                    <a:pt x="720317" y="683185"/>
                  </a:moveTo>
                  <a:cubicBezTo>
                    <a:pt x="728487" y="684670"/>
                    <a:pt x="735172" y="686899"/>
                    <a:pt x="742592" y="689870"/>
                  </a:cubicBezTo>
                  <a:cubicBezTo>
                    <a:pt x="750020" y="692841"/>
                    <a:pt x="757448" y="695805"/>
                    <a:pt x="764876" y="699519"/>
                  </a:cubicBezTo>
                  <a:cubicBezTo>
                    <a:pt x="823540" y="727737"/>
                    <a:pt x="880719" y="761162"/>
                    <a:pt x="937898" y="793094"/>
                  </a:cubicBezTo>
                  <a:lnTo>
                    <a:pt x="962403" y="807199"/>
                  </a:lnTo>
                  <a:lnTo>
                    <a:pt x="1038887" y="851008"/>
                  </a:lnTo>
                  <a:lnTo>
                    <a:pt x="1108693" y="891111"/>
                  </a:lnTo>
                  <a:cubicBezTo>
                    <a:pt x="1165872" y="923786"/>
                    <a:pt x="1222308" y="957196"/>
                    <a:pt x="1280230" y="989128"/>
                  </a:cubicBezTo>
                  <a:cubicBezTo>
                    <a:pt x="1309191" y="1005469"/>
                    <a:pt x="1338152" y="1021067"/>
                    <a:pt x="1367113" y="1035923"/>
                  </a:cubicBezTo>
                  <a:cubicBezTo>
                    <a:pt x="1396816" y="1050771"/>
                    <a:pt x="1425777" y="1066362"/>
                    <a:pt x="1457709" y="1078239"/>
                  </a:cubicBezTo>
                  <a:cubicBezTo>
                    <a:pt x="1489641" y="1089381"/>
                    <a:pt x="1523802" y="1096808"/>
                    <a:pt x="1558705" y="1092352"/>
                  </a:cubicBezTo>
                  <a:cubicBezTo>
                    <a:pt x="1593608" y="1088638"/>
                    <a:pt x="1627018" y="1068590"/>
                    <a:pt x="1647073" y="1039629"/>
                  </a:cubicBezTo>
                  <a:cubicBezTo>
                    <a:pt x="1657465" y="1025524"/>
                    <a:pt x="1664892" y="1009925"/>
                    <a:pt x="1670835" y="993592"/>
                  </a:cubicBezTo>
                  <a:cubicBezTo>
                    <a:pt x="1672320" y="989878"/>
                    <a:pt x="1673063" y="985421"/>
                    <a:pt x="1674548" y="980965"/>
                  </a:cubicBezTo>
                  <a:cubicBezTo>
                    <a:pt x="1676034" y="976508"/>
                    <a:pt x="1676777" y="972794"/>
                    <a:pt x="1677520" y="968337"/>
                  </a:cubicBezTo>
                  <a:lnTo>
                    <a:pt x="1680491" y="955710"/>
                  </a:lnTo>
                  <a:cubicBezTo>
                    <a:pt x="1681234" y="951261"/>
                    <a:pt x="1681976" y="946061"/>
                    <a:pt x="1681234" y="941612"/>
                  </a:cubicBezTo>
                  <a:cubicBezTo>
                    <a:pt x="1681234" y="923043"/>
                    <a:pt x="1674548" y="905959"/>
                    <a:pt x="1667121" y="890368"/>
                  </a:cubicBezTo>
                  <a:cubicBezTo>
                    <a:pt x="1658950" y="874770"/>
                    <a:pt x="1650044" y="860664"/>
                    <a:pt x="1639646" y="847302"/>
                  </a:cubicBezTo>
                  <a:cubicBezTo>
                    <a:pt x="1618855" y="820562"/>
                    <a:pt x="1595836" y="796800"/>
                    <a:pt x="1571325" y="774524"/>
                  </a:cubicBezTo>
                  <a:cubicBezTo>
                    <a:pt x="1546820" y="752248"/>
                    <a:pt x="1521574" y="730708"/>
                    <a:pt x="1495584" y="710660"/>
                  </a:cubicBezTo>
                  <a:cubicBezTo>
                    <a:pt x="1469594" y="690605"/>
                    <a:pt x="1442861" y="671308"/>
                    <a:pt x="1415386" y="651996"/>
                  </a:cubicBezTo>
                  <a:cubicBezTo>
                    <a:pt x="1402016" y="642347"/>
                    <a:pt x="1387910" y="633434"/>
                    <a:pt x="1374541" y="624520"/>
                  </a:cubicBezTo>
                  <a:cubicBezTo>
                    <a:pt x="1367856" y="620064"/>
                    <a:pt x="1360435" y="615614"/>
                    <a:pt x="1354493" y="611158"/>
                  </a:cubicBezTo>
                  <a:cubicBezTo>
                    <a:pt x="1349294" y="607444"/>
                    <a:pt x="1343351" y="602987"/>
                    <a:pt x="1338152" y="598531"/>
                  </a:cubicBezTo>
                  <a:cubicBezTo>
                    <a:pt x="1337409" y="597788"/>
                    <a:pt x="1336666" y="597045"/>
                    <a:pt x="1335181" y="596302"/>
                  </a:cubicBezTo>
                  <a:cubicBezTo>
                    <a:pt x="1283201" y="556207"/>
                    <a:pt x="1232707" y="513876"/>
                    <a:pt x="1182948" y="471553"/>
                  </a:cubicBezTo>
                  <a:cubicBezTo>
                    <a:pt x="1132454" y="429222"/>
                    <a:pt x="1083446" y="386148"/>
                    <a:pt x="1035916" y="340846"/>
                  </a:cubicBezTo>
                  <a:cubicBezTo>
                    <a:pt x="1024039" y="329712"/>
                    <a:pt x="1011411" y="318570"/>
                    <a:pt x="1000277" y="307436"/>
                  </a:cubicBezTo>
                  <a:cubicBezTo>
                    <a:pt x="988393" y="296294"/>
                    <a:pt x="978737" y="284410"/>
                    <a:pt x="968345" y="271047"/>
                  </a:cubicBezTo>
                  <a:cubicBezTo>
                    <a:pt x="949033" y="245057"/>
                    <a:pt x="931956" y="217582"/>
                    <a:pt x="917101" y="187878"/>
                  </a:cubicBezTo>
                  <a:cubicBezTo>
                    <a:pt x="888140" y="129956"/>
                    <a:pt x="867350" y="66092"/>
                    <a:pt x="868092" y="0"/>
                  </a:cubicBezTo>
                  <a:cubicBezTo>
                    <a:pt x="865864" y="32675"/>
                    <a:pt x="869578" y="66092"/>
                    <a:pt x="876263" y="98024"/>
                  </a:cubicBezTo>
                  <a:cubicBezTo>
                    <a:pt x="883690" y="129956"/>
                    <a:pt x="894825" y="161888"/>
                    <a:pt x="908195" y="191592"/>
                  </a:cubicBezTo>
                  <a:cubicBezTo>
                    <a:pt x="921557" y="222039"/>
                    <a:pt x="937898" y="250999"/>
                    <a:pt x="956460" y="278475"/>
                  </a:cubicBezTo>
                  <a:cubicBezTo>
                    <a:pt x="966117" y="291837"/>
                    <a:pt x="976508" y="305950"/>
                    <a:pt x="987650" y="317835"/>
                  </a:cubicBezTo>
                  <a:cubicBezTo>
                    <a:pt x="998791" y="330454"/>
                    <a:pt x="1010668" y="341596"/>
                    <a:pt x="1022553" y="353473"/>
                  </a:cubicBezTo>
                  <a:cubicBezTo>
                    <a:pt x="1070819" y="398775"/>
                    <a:pt x="1120577" y="441841"/>
                    <a:pt x="1170329" y="484165"/>
                  </a:cubicBezTo>
                  <a:cubicBezTo>
                    <a:pt x="1220823" y="526496"/>
                    <a:pt x="1271324" y="568827"/>
                    <a:pt x="1323304" y="608929"/>
                  </a:cubicBezTo>
                  <a:cubicBezTo>
                    <a:pt x="1329989" y="614129"/>
                    <a:pt x="1336666" y="619328"/>
                    <a:pt x="1343351" y="623777"/>
                  </a:cubicBezTo>
                  <a:cubicBezTo>
                    <a:pt x="1350779" y="628977"/>
                    <a:pt x="1357464" y="632691"/>
                    <a:pt x="1364142" y="637883"/>
                  </a:cubicBezTo>
                  <a:cubicBezTo>
                    <a:pt x="1377512" y="646796"/>
                    <a:pt x="1391624" y="655710"/>
                    <a:pt x="1404987" y="665366"/>
                  </a:cubicBezTo>
                  <a:cubicBezTo>
                    <a:pt x="1431720" y="683928"/>
                    <a:pt x="1458452" y="703233"/>
                    <a:pt x="1484442" y="723287"/>
                  </a:cubicBezTo>
                  <a:cubicBezTo>
                    <a:pt x="1510432" y="743335"/>
                    <a:pt x="1535679" y="764125"/>
                    <a:pt x="1559448" y="786401"/>
                  </a:cubicBezTo>
                  <a:cubicBezTo>
                    <a:pt x="1583209" y="808685"/>
                    <a:pt x="1606228" y="831703"/>
                    <a:pt x="1625540" y="856950"/>
                  </a:cubicBezTo>
                  <a:cubicBezTo>
                    <a:pt x="1635189" y="869578"/>
                    <a:pt x="1644102" y="882948"/>
                    <a:pt x="1651530" y="897053"/>
                  </a:cubicBezTo>
                  <a:cubicBezTo>
                    <a:pt x="1658950" y="911166"/>
                    <a:pt x="1663407" y="926014"/>
                    <a:pt x="1663407" y="940119"/>
                  </a:cubicBezTo>
                  <a:cubicBezTo>
                    <a:pt x="1663407" y="943833"/>
                    <a:pt x="1662664" y="946812"/>
                    <a:pt x="1662664" y="950518"/>
                  </a:cubicBezTo>
                  <a:lnTo>
                    <a:pt x="1660436" y="962403"/>
                  </a:lnTo>
                  <a:cubicBezTo>
                    <a:pt x="1659693" y="966117"/>
                    <a:pt x="1658958" y="969823"/>
                    <a:pt x="1657472" y="973537"/>
                  </a:cubicBezTo>
                  <a:cubicBezTo>
                    <a:pt x="1655987" y="977251"/>
                    <a:pt x="1655244" y="980965"/>
                    <a:pt x="1653758" y="984679"/>
                  </a:cubicBezTo>
                  <a:cubicBezTo>
                    <a:pt x="1648559" y="999527"/>
                    <a:pt x="1641874" y="1013639"/>
                    <a:pt x="1632960" y="1026259"/>
                  </a:cubicBezTo>
                  <a:cubicBezTo>
                    <a:pt x="1615141" y="1051506"/>
                    <a:pt x="1587666" y="1067847"/>
                    <a:pt x="1557219" y="1071561"/>
                  </a:cubicBezTo>
                  <a:cubicBezTo>
                    <a:pt x="1526773" y="1075275"/>
                    <a:pt x="1494841" y="1069333"/>
                    <a:pt x="1464394" y="1058199"/>
                  </a:cubicBezTo>
                  <a:cubicBezTo>
                    <a:pt x="1434691" y="1047057"/>
                    <a:pt x="1404987" y="1032209"/>
                    <a:pt x="1376026" y="1017353"/>
                  </a:cubicBezTo>
                  <a:cubicBezTo>
                    <a:pt x="1347065" y="1002505"/>
                    <a:pt x="1318104" y="986157"/>
                    <a:pt x="1289143" y="970566"/>
                  </a:cubicBezTo>
                  <a:cubicBezTo>
                    <a:pt x="1231964" y="938634"/>
                    <a:pt x="1174785" y="905966"/>
                    <a:pt x="1117606" y="872549"/>
                  </a:cubicBezTo>
                  <a:lnTo>
                    <a:pt x="946804" y="773782"/>
                  </a:lnTo>
                  <a:cubicBezTo>
                    <a:pt x="889625" y="741107"/>
                    <a:pt x="832446" y="708439"/>
                    <a:pt x="773039" y="679479"/>
                  </a:cubicBezTo>
                  <a:cubicBezTo>
                    <a:pt x="765619" y="675765"/>
                    <a:pt x="758191" y="672786"/>
                    <a:pt x="750020" y="669079"/>
                  </a:cubicBezTo>
                  <a:cubicBezTo>
                    <a:pt x="742592" y="666108"/>
                    <a:pt x="732944" y="663137"/>
                    <a:pt x="724773" y="661652"/>
                  </a:cubicBezTo>
                  <a:cubicBezTo>
                    <a:pt x="708440" y="657938"/>
                    <a:pt x="692098" y="655710"/>
                    <a:pt x="675765" y="652738"/>
                  </a:cubicBezTo>
                  <a:cubicBezTo>
                    <a:pt x="643090" y="648282"/>
                    <a:pt x="609672" y="645318"/>
                    <a:pt x="576997" y="642347"/>
                  </a:cubicBezTo>
                  <a:cubicBezTo>
                    <a:pt x="511648" y="637148"/>
                    <a:pt x="445556" y="633434"/>
                    <a:pt x="380213" y="627491"/>
                  </a:cubicBezTo>
                  <a:cubicBezTo>
                    <a:pt x="314864" y="621557"/>
                    <a:pt x="248771" y="619321"/>
                    <a:pt x="184164" y="608179"/>
                  </a:cubicBezTo>
                  <a:cubicBezTo>
                    <a:pt x="119558" y="597045"/>
                    <a:pt x="56436" y="576247"/>
                    <a:pt x="0" y="543572"/>
                  </a:cubicBezTo>
                  <a:cubicBezTo>
                    <a:pt x="27475" y="561399"/>
                    <a:pt x="57179" y="576990"/>
                    <a:pt x="87626" y="589617"/>
                  </a:cubicBezTo>
                  <a:cubicBezTo>
                    <a:pt x="118072" y="602244"/>
                    <a:pt x="150004" y="611158"/>
                    <a:pt x="182679" y="618578"/>
                  </a:cubicBezTo>
                  <a:cubicBezTo>
                    <a:pt x="196049" y="621549"/>
                    <a:pt x="209412" y="623777"/>
                    <a:pt x="223524" y="626749"/>
                  </a:cubicBezTo>
                  <a:cubicBezTo>
                    <a:pt x="274761" y="635662"/>
                    <a:pt x="326741" y="640854"/>
                    <a:pt x="378728" y="647539"/>
                  </a:cubicBezTo>
                  <a:cubicBezTo>
                    <a:pt x="444813" y="653481"/>
                    <a:pt x="510162" y="657195"/>
                    <a:pt x="575512" y="662387"/>
                  </a:cubicBezTo>
                  <a:cubicBezTo>
                    <a:pt x="581454" y="663130"/>
                    <a:pt x="587396" y="663137"/>
                    <a:pt x="593331" y="663880"/>
                  </a:cubicBezTo>
                  <a:cubicBezTo>
                    <a:pt x="620071" y="666101"/>
                    <a:pt x="646804" y="669079"/>
                    <a:pt x="672794" y="672786"/>
                  </a:cubicBezTo>
                  <a:cubicBezTo>
                    <a:pt x="688384" y="677243"/>
                    <a:pt x="704726" y="679479"/>
                    <a:pt x="720317" y="683185"/>
                  </a:cubicBezTo>
                  <a:close/>
                </a:path>
              </a:pathLst>
            </a:custGeom>
            <a:solidFill>
              <a:srgbClr val="EDCFC5"/>
            </a:solidFill>
            <a:ln w="7421" cap="flat">
              <a:noFill/>
              <a:prstDash val="solid"/>
              <a:miter/>
            </a:ln>
          </p:spPr>
          <p:txBody>
            <a:bodyPr rtlCol="0" anchor="ctr"/>
            <a:lstStyle/>
            <a:p>
              <a:pPr marL="0" marR="0" lvl="0" indent="0" algn="l" defTabSz="1149834" rtl="0" eaLnBrk="1" fontAlgn="auto" latinLnBrk="0" hangingPunct="1">
                <a:lnSpc>
                  <a:spcPct val="100000"/>
                </a:lnSpc>
                <a:spcBef>
                  <a:spcPts val="0"/>
                </a:spcBef>
                <a:spcAft>
                  <a:spcPts val="0"/>
                </a:spcAft>
                <a:buClrTx/>
                <a:buSzTx/>
                <a:buFontTx/>
                <a:buNone/>
                <a:tabLst/>
                <a:defRPr/>
              </a:pPr>
              <a:endParaRPr kumimoji="0" lang="en-GB" sz="2264"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TekstSylinder 6">
            <a:extLst>
              <a:ext uri="{FF2B5EF4-FFF2-40B4-BE49-F238E27FC236}">
                <a16:creationId xmlns:a16="http://schemas.microsoft.com/office/drawing/2014/main" id="{7E7A56EC-2800-6D1E-A3FB-515389C5939F}"/>
              </a:ext>
            </a:extLst>
          </p:cNvPr>
          <p:cNvSpPr txBox="1"/>
          <p:nvPr/>
        </p:nvSpPr>
        <p:spPr>
          <a:xfrm>
            <a:off x="1461245" y="3576843"/>
            <a:ext cx="9538015" cy="1200329"/>
          </a:xfrm>
          <a:prstGeom prst="rect">
            <a:avLst/>
          </a:prstGeom>
          <a:noFill/>
        </p:spPr>
        <p:txBody>
          <a:bodyPr wrap="square">
            <a:spAutoFit/>
          </a:bodyPr>
          <a:lstStyle/>
          <a:p>
            <a:pPr marL="599380" marR="0" lvl="0" indent="0" algn="l" defTabSz="1219078" rtl="0" eaLnBrk="1" fontAlgn="auto" latinLnBrk="0" hangingPunct="1">
              <a:lnSpc>
                <a:spcPct val="100000"/>
              </a:lnSpc>
              <a:spcBef>
                <a:spcPts val="0"/>
              </a:spcBef>
              <a:spcAft>
                <a:spcPts val="0"/>
              </a:spcAft>
              <a:buClrTx/>
              <a:buSzTx/>
              <a:buFontTx/>
              <a:buNone/>
              <a:tabLst/>
              <a:defRPr/>
            </a:pPr>
            <a:r>
              <a:rPr kumimoji="0" lang="nb-NO" sz="240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Nasjonale grunndata er opplysninger som mange har bruk for og som er særlig viktige for samfunnets funksjoner og tjenester. De skal ha tilstrekkelig kvalitet og være enkelt tilgjengelige.</a:t>
            </a:r>
            <a:endPar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19" name="Tittel 2">
            <a:extLst>
              <a:ext uri="{FF2B5EF4-FFF2-40B4-BE49-F238E27FC236}">
                <a16:creationId xmlns:a16="http://schemas.microsoft.com/office/drawing/2014/main" id="{351BE38F-C5C6-6DD9-2315-5773F8019482}"/>
              </a:ext>
            </a:extLst>
          </p:cNvPr>
          <p:cNvSpPr>
            <a:spLocks noGrp="1"/>
          </p:cNvSpPr>
          <p:nvPr>
            <p:ph type="title"/>
          </p:nvPr>
        </p:nvSpPr>
        <p:spPr>
          <a:xfrm>
            <a:off x="1979608" y="833798"/>
            <a:ext cx="12295197" cy="692430"/>
          </a:xfrm>
        </p:spPr>
        <p:txBody>
          <a:bodyPr/>
          <a:lstStyle/>
          <a:p>
            <a:r>
              <a:rPr lang="nb-NO"/>
              <a:t>Nasjonale grunndata</a:t>
            </a:r>
          </a:p>
        </p:txBody>
      </p:sp>
    </p:spTree>
    <p:extLst>
      <p:ext uri="{BB962C8B-B14F-4D97-AF65-F5344CB8AC3E}">
        <p14:creationId xmlns:p14="http://schemas.microsoft.com/office/powerpoint/2010/main" val="3473033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795" y="447"/>
            <a:ext cx="16252825" cy="91431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Arc 19">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11506817" y="654569"/>
            <a:ext cx="3983476" cy="3983087"/>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080A4D6B-D3EE-40FD-9C2C-7D4CC76710B8}"/>
              </a:ext>
            </a:extLst>
          </p:cNvPr>
          <p:cNvSpPr>
            <a:spLocks noGrp="1"/>
          </p:cNvSpPr>
          <p:nvPr>
            <p:ph type="title"/>
          </p:nvPr>
        </p:nvSpPr>
        <p:spPr>
          <a:xfrm>
            <a:off x="5885453" y="375329"/>
            <a:ext cx="7900918" cy="1767245"/>
          </a:xfrm>
        </p:spPr>
        <p:txBody>
          <a:bodyPr vert="horz" lIns="91431" tIns="45716" rIns="91431" bIns="45716" rtlCol="0" anchor="ctr" anchorCtr="0">
            <a:normAutofit/>
          </a:bodyPr>
          <a:lstStyle/>
          <a:p>
            <a:r>
              <a:rPr lang="nb-NO" sz="4000">
                <a:latin typeface="Arial (Overskrifter)"/>
                <a:cs typeface="+mj-cs"/>
              </a:rPr>
              <a:t>Foreslåtte</a:t>
            </a:r>
            <a:r>
              <a:rPr lang="en-GB" sz="4000">
                <a:latin typeface="Arial (Overskrifter)"/>
                <a:cs typeface="+mj-cs"/>
              </a:rPr>
              <a:t> </a:t>
            </a:r>
            <a:r>
              <a:rPr lang="nb-NO" sz="4000">
                <a:latin typeface="Arial (Overskrifter)"/>
                <a:cs typeface="+mj-cs"/>
              </a:rPr>
              <a:t>tiltak</a:t>
            </a:r>
          </a:p>
        </p:txBody>
      </p:sp>
      <p:sp>
        <p:nvSpPr>
          <p:cNvPr id="22" name="Freeform: Shape 21">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5" y="7314932"/>
            <a:ext cx="3563121" cy="1828621"/>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149834" rtl="0" eaLnBrk="1" fontAlgn="auto" latinLnBrk="0" hangingPunct="1">
              <a:lnSpc>
                <a:spcPct val="100000"/>
              </a:lnSpc>
              <a:spcBef>
                <a:spcPts val="0"/>
              </a:spcBef>
              <a:spcAft>
                <a:spcPts val="0"/>
              </a:spcAft>
              <a:buClrTx/>
              <a:buSzTx/>
              <a:buFontTx/>
              <a:buNone/>
              <a:tabLst/>
              <a:defRPr/>
            </a:pPr>
            <a:endParaRPr kumimoji="0" lang="en-US" sz="2264"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Bilde 6">
            <a:extLst>
              <a:ext uri="{FF2B5EF4-FFF2-40B4-BE49-F238E27FC236}">
                <a16:creationId xmlns:a16="http://schemas.microsoft.com/office/drawing/2014/main" id="{F1FE0B6D-7D92-43F2-8705-7BB3B77BC9B8}"/>
              </a:ext>
            </a:extLst>
          </p:cNvPr>
          <p:cNvPicPr>
            <a:picLocks noChangeAspect="1"/>
          </p:cNvPicPr>
          <p:nvPr/>
        </p:nvPicPr>
        <p:blipFill>
          <a:blip r:embed="rId3"/>
          <a:stretch>
            <a:fillRect/>
          </a:stretch>
        </p:blipFill>
        <p:spPr>
          <a:xfrm>
            <a:off x="378354" y="1819047"/>
            <a:ext cx="5129540" cy="7324507"/>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3" name="Plassholder for innhold 2">
            <a:extLst>
              <a:ext uri="{FF2B5EF4-FFF2-40B4-BE49-F238E27FC236}">
                <a16:creationId xmlns:a16="http://schemas.microsoft.com/office/drawing/2014/main" id="{3B933D37-3B45-40F4-AFF3-C58380019C95}"/>
              </a:ext>
            </a:extLst>
          </p:cNvPr>
          <p:cNvSpPr>
            <a:spLocks noGrp="1"/>
          </p:cNvSpPr>
          <p:nvPr>
            <p:ph idx="1"/>
          </p:nvPr>
        </p:nvSpPr>
        <p:spPr>
          <a:xfrm>
            <a:off x="5383220" y="2351198"/>
            <a:ext cx="10745723" cy="6260203"/>
          </a:xfrm>
        </p:spPr>
        <p:txBody>
          <a:bodyPr vert="horz" lIns="91431" tIns="45716" rIns="91431" bIns="45716" rtlCol="0">
            <a:normAutofit/>
          </a:bodyPr>
          <a:lstStyle/>
          <a:p>
            <a:pPr indent="0">
              <a:lnSpc>
                <a:spcPct val="100000"/>
              </a:lnSpc>
              <a:buClr>
                <a:srgbClr val="C00000"/>
              </a:buClr>
              <a:buNone/>
            </a:pPr>
            <a:r>
              <a:rPr lang="en-US"/>
              <a:t>1. </a:t>
            </a:r>
            <a:r>
              <a:rPr lang="nb-NO"/>
              <a:t>Domeneansvarlige og grunndataforvaltere</a:t>
            </a:r>
          </a:p>
          <a:p>
            <a:pPr indent="0">
              <a:lnSpc>
                <a:spcPct val="100000"/>
              </a:lnSpc>
              <a:buClr>
                <a:srgbClr val="C00000"/>
              </a:buClr>
              <a:buNone/>
            </a:pPr>
            <a:r>
              <a:rPr lang="nb-NO"/>
              <a:t>2. Nasjonal grunndataoversikt</a:t>
            </a:r>
          </a:p>
          <a:p>
            <a:pPr indent="0">
              <a:lnSpc>
                <a:spcPct val="100000"/>
              </a:lnSpc>
              <a:buClr>
                <a:srgbClr val="C00000"/>
              </a:buClr>
              <a:buNone/>
            </a:pPr>
            <a:r>
              <a:rPr lang="nb-NO"/>
              <a:t>3. Nasjonal grunndatakoordinator</a:t>
            </a:r>
          </a:p>
          <a:p>
            <a:pPr indent="0">
              <a:lnSpc>
                <a:spcPct val="100000"/>
              </a:lnSpc>
              <a:buClr>
                <a:srgbClr val="C00000"/>
              </a:buClr>
              <a:buNone/>
            </a:pPr>
            <a:r>
              <a:rPr lang="nb-NO"/>
              <a:t>4. Politisk styring og oppmerksomhet</a:t>
            </a:r>
          </a:p>
          <a:p>
            <a:pPr indent="0">
              <a:lnSpc>
                <a:spcPct val="100000"/>
              </a:lnSpc>
              <a:buClr>
                <a:srgbClr val="C00000"/>
              </a:buClr>
              <a:buNone/>
            </a:pPr>
            <a:r>
              <a:rPr lang="en-US"/>
              <a:t>5. </a:t>
            </a:r>
            <a:r>
              <a:rPr lang="nb-NO"/>
              <a:t>Standardisering</a:t>
            </a:r>
          </a:p>
          <a:p>
            <a:pPr indent="0">
              <a:lnSpc>
                <a:spcPct val="100000"/>
              </a:lnSpc>
              <a:buClr>
                <a:srgbClr val="C00000"/>
              </a:buClr>
              <a:buNone/>
            </a:pPr>
            <a:r>
              <a:rPr lang="nb-NO"/>
              <a:t>6. Juridiske virkemidler</a:t>
            </a:r>
          </a:p>
          <a:p>
            <a:pPr indent="0">
              <a:lnSpc>
                <a:spcPct val="100000"/>
              </a:lnSpc>
              <a:buClr>
                <a:srgbClr val="C00000"/>
              </a:buClr>
              <a:buNone/>
            </a:pPr>
            <a:r>
              <a:rPr lang="nb-NO"/>
              <a:t>7. Bruker-/konsumentorientering</a:t>
            </a:r>
          </a:p>
        </p:txBody>
      </p:sp>
      <p:pic>
        <p:nvPicPr>
          <p:cNvPr id="5" name="Bilde 4">
            <a:extLst>
              <a:ext uri="{FF2B5EF4-FFF2-40B4-BE49-F238E27FC236}">
                <a16:creationId xmlns:a16="http://schemas.microsoft.com/office/drawing/2014/main" id="{3B2EA7B7-C3DF-427A-9D50-7E2EB62F5D36}"/>
              </a:ext>
            </a:extLst>
          </p:cNvPr>
          <p:cNvPicPr>
            <a:picLocks noChangeAspect="1"/>
          </p:cNvPicPr>
          <p:nvPr/>
        </p:nvPicPr>
        <p:blipFill>
          <a:blip r:embed="rId4"/>
          <a:stretch>
            <a:fillRect/>
          </a:stretch>
        </p:blipFill>
        <p:spPr>
          <a:xfrm>
            <a:off x="14379073" y="8160458"/>
            <a:ext cx="1514327" cy="628589"/>
          </a:xfrm>
          <a:prstGeom prst="rect">
            <a:avLst/>
          </a:prstGeom>
        </p:spPr>
      </p:pic>
    </p:spTree>
    <p:extLst>
      <p:ext uri="{BB962C8B-B14F-4D97-AF65-F5344CB8AC3E}">
        <p14:creationId xmlns:p14="http://schemas.microsoft.com/office/powerpoint/2010/main" val="34859935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Ellipse 22">
            <a:extLst>
              <a:ext uri="{FF2B5EF4-FFF2-40B4-BE49-F238E27FC236}">
                <a16:creationId xmlns:a16="http://schemas.microsoft.com/office/drawing/2014/main" id="{4B26EC8D-A235-0C85-3B40-97C5942CA4AA}"/>
              </a:ext>
            </a:extLst>
          </p:cNvPr>
          <p:cNvSpPr/>
          <p:nvPr/>
        </p:nvSpPr>
        <p:spPr>
          <a:xfrm>
            <a:off x="2238822" y="263233"/>
            <a:ext cx="13455223" cy="8771415"/>
          </a:xfrm>
          <a:prstGeom prst="ellipse">
            <a:avLst/>
          </a:prstGeom>
          <a:solidFill>
            <a:schemeClr val="accent6">
              <a:lumMod val="20000"/>
              <a:lumOff val="80000"/>
            </a:schemeClr>
          </a:solidFill>
          <a:ln>
            <a:solidFill>
              <a:srgbClr val="1E2B3C"/>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834" rtl="0" eaLnBrk="1" fontAlgn="auto" latinLnBrk="0" hangingPunct="1">
              <a:lnSpc>
                <a:spcPct val="100000"/>
              </a:lnSpc>
              <a:spcBef>
                <a:spcPts val="0"/>
              </a:spcBef>
              <a:spcAft>
                <a:spcPts val="0"/>
              </a:spcAft>
              <a:buClrTx/>
              <a:buSzTx/>
              <a:buFontTx/>
              <a:buNone/>
              <a:tabLst/>
              <a:defRPr/>
            </a:pPr>
            <a:endParaRPr kumimoji="0" lang="nb-NO" sz="3018"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uppe 7">
            <a:extLst>
              <a:ext uri="{FF2B5EF4-FFF2-40B4-BE49-F238E27FC236}">
                <a16:creationId xmlns:a16="http://schemas.microsoft.com/office/drawing/2014/main" id="{728EB899-BA93-40FE-0B0B-B977B069AB1E}"/>
              </a:ext>
            </a:extLst>
          </p:cNvPr>
          <p:cNvGrpSpPr/>
          <p:nvPr/>
        </p:nvGrpSpPr>
        <p:grpSpPr>
          <a:xfrm>
            <a:off x="8966432" y="6156972"/>
            <a:ext cx="3823192" cy="1746791"/>
            <a:chOff x="9569725" y="6183409"/>
            <a:chExt cx="4756169" cy="2143900"/>
          </a:xfrm>
        </p:grpSpPr>
        <p:cxnSp>
          <p:nvCxnSpPr>
            <p:cNvPr id="9" name="Kobling: vinkel 8">
              <a:extLst>
                <a:ext uri="{FF2B5EF4-FFF2-40B4-BE49-F238E27FC236}">
                  <a16:creationId xmlns:a16="http://schemas.microsoft.com/office/drawing/2014/main" id="{651992A9-802D-2128-0F6D-5C1B853835CC}"/>
                </a:ext>
              </a:extLst>
            </p:cNvPr>
            <p:cNvCxnSpPr>
              <a:cxnSpLocks/>
            </p:cNvCxnSpPr>
            <p:nvPr/>
          </p:nvCxnSpPr>
          <p:spPr>
            <a:xfrm>
              <a:off x="9725521" y="6183409"/>
              <a:ext cx="3855429" cy="1692814"/>
            </a:xfrm>
            <a:prstGeom prst="bentConnector3">
              <a:avLst>
                <a:gd name="adj1" fmla="val 148"/>
              </a:avLst>
            </a:prstGeom>
            <a:ln>
              <a:solidFill>
                <a:srgbClr val="1E2B3C"/>
              </a:solidFill>
            </a:ln>
          </p:spPr>
          <p:style>
            <a:lnRef idx="1">
              <a:schemeClr val="accent1"/>
            </a:lnRef>
            <a:fillRef idx="0">
              <a:schemeClr val="accent1"/>
            </a:fillRef>
            <a:effectRef idx="0">
              <a:schemeClr val="accent1"/>
            </a:effectRef>
            <a:fontRef idx="minor">
              <a:schemeClr val="tx1"/>
            </a:fontRef>
          </p:style>
        </p:cxnSp>
        <p:sp>
          <p:nvSpPr>
            <p:cNvPr id="10" name="TekstSylinder 9">
              <a:extLst>
                <a:ext uri="{FF2B5EF4-FFF2-40B4-BE49-F238E27FC236}">
                  <a16:creationId xmlns:a16="http://schemas.microsoft.com/office/drawing/2014/main" id="{221A2C1D-8884-7B11-86A6-4497826F235C}"/>
                </a:ext>
              </a:extLst>
            </p:cNvPr>
            <p:cNvSpPr txBox="1"/>
            <p:nvPr/>
          </p:nvSpPr>
          <p:spPr>
            <a:xfrm>
              <a:off x="9569725" y="7861580"/>
              <a:ext cx="4756169" cy="465729"/>
            </a:xfrm>
            <a:prstGeom prst="rect">
              <a:avLst/>
            </a:prstGeom>
            <a:noFill/>
          </p:spPr>
          <p:txBody>
            <a:bodyPr wrap="square" rtlCol="0">
              <a:spAutoFit/>
            </a:bodyPr>
            <a:lstStyle/>
            <a:p>
              <a:pPr marL="0" marR="0" lvl="0" indent="0" algn="l" defTabSz="1149720"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Arial" panose="020B0604020202020204"/>
                  <a:ea typeface="+mn-ea"/>
                  <a:cs typeface="+mn-cs"/>
                </a:rPr>
                <a:t>Nasjonal grunndataoversikt</a:t>
              </a:r>
            </a:p>
          </p:txBody>
        </p:sp>
      </p:grpSp>
      <p:sp>
        <p:nvSpPr>
          <p:cNvPr id="14" name="TekstSylinder 13">
            <a:extLst>
              <a:ext uri="{FF2B5EF4-FFF2-40B4-BE49-F238E27FC236}">
                <a16:creationId xmlns:a16="http://schemas.microsoft.com/office/drawing/2014/main" id="{2FA09046-43A7-6F4A-A6B1-C8077382959D}"/>
              </a:ext>
            </a:extLst>
          </p:cNvPr>
          <p:cNvSpPr txBox="1"/>
          <p:nvPr/>
        </p:nvSpPr>
        <p:spPr>
          <a:xfrm>
            <a:off x="10468857" y="2528595"/>
            <a:ext cx="2860423" cy="954107"/>
          </a:xfrm>
          <a:prstGeom prst="rect">
            <a:avLst/>
          </a:prstGeom>
          <a:noFill/>
        </p:spPr>
        <p:txBody>
          <a:bodyPr wrap="square" rtlCol="0">
            <a:spAutoFit/>
          </a:bodyPr>
          <a:lstStyle/>
          <a:p>
            <a:pPr marL="0" marR="0" lvl="0" indent="0" algn="l" defTabSz="114972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Skal sørge for koordineringen på tvers domenene og bidra til å definere roller, ansvar og oppgaver for nasjonale grunndata </a:t>
            </a:r>
          </a:p>
        </p:txBody>
      </p:sp>
      <p:grpSp>
        <p:nvGrpSpPr>
          <p:cNvPr id="13" name="Gruppe 12">
            <a:extLst>
              <a:ext uri="{FF2B5EF4-FFF2-40B4-BE49-F238E27FC236}">
                <a16:creationId xmlns:a16="http://schemas.microsoft.com/office/drawing/2014/main" id="{BCE924B6-18F5-4260-7F91-4187B087623F}"/>
              </a:ext>
            </a:extLst>
          </p:cNvPr>
          <p:cNvGrpSpPr/>
          <p:nvPr/>
        </p:nvGrpSpPr>
        <p:grpSpPr>
          <a:xfrm>
            <a:off x="10461959" y="1868376"/>
            <a:ext cx="2773132" cy="1364910"/>
            <a:chOff x="10207223" y="771477"/>
            <a:chExt cx="3388065" cy="1675206"/>
          </a:xfrm>
        </p:grpSpPr>
        <p:cxnSp>
          <p:nvCxnSpPr>
            <p:cNvPr id="15" name="Kobling: vinkel 14">
              <a:extLst>
                <a:ext uri="{FF2B5EF4-FFF2-40B4-BE49-F238E27FC236}">
                  <a16:creationId xmlns:a16="http://schemas.microsoft.com/office/drawing/2014/main" id="{2BD9C033-EDF4-426F-169F-206ED75F00BC}"/>
                </a:ext>
              </a:extLst>
            </p:cNvPr>
            <p:cNvCxnSpPr>
              <a:cxnSpLocks/>
            </p:cNvCxnSpPr>
            <p:nvPr/>
          </p:nvCxnSpPr>
          <p:spPr>
            <a:xfrm flipV="1">
              <a:off x="10207223" y="1547779"/>
              <a:ext cx="3388065" cy="898904"/>
            </a:xfrm>
            <a:prstGeom prst="bentConnector3">
              <a:avLst>
                <a:gd name="adj1" fmla="val 40"/>
              </a:avLst>
            </a:prstGeom>
            <a:ln>
              <a:solidFill>
                <a:srgbClr val="1E2B3C"/>
              </a:solidFill>
            </a:ln>
          </p:spPr>
          <p:style>
            <a:lnRef idx="1">
              <a:schemeClr val="accent1"/>
            </a:lnRef>
            <a:fillRef idx="0">
              <a:schemeClr val="accent1"/>
            </a:fillRef>
            <a:effectRef idx="0">
              <a:schemeClr val="accent1"/>
            </a:effectRef>
            <a:fontRef idx="minor">
              <a:schemeClr val="tx1"/>
            </a:fontRef>
          </p:style>
        </p:cxnSp>
        <p:sp>
          <p:nvSpPr>
            <p:cNvPr id="16" name="TekstSylinder 15">
              <a:extLst>
                <a:ext uri="{FF2B5EF4-FFF2-40B4-BE49-F238E27FC236}">
                  <a16:creationId xmlns:a16="http://schemas.microsoft.com/office/drawing/2014/main" id="{80D24A69-A36F-B92C-971D-6F82CC3C235C}"/>
                </a:ext>
              </a:extLst>
            </p:cNvPr>
            <p:cNvSpPr txBox="1"/>
            <p:nvPr/>
          </p:nvSpPr>
          <p:spPr>
            <a:xfrm>
              <a:off x="10230108" y="771477"/>
              <a:ext cx="3365180" cy="818134"/>
            </a:xfrm>
            <a:prstGeom prst="rect">
              <a:avLst/>
            </a:prstGeom>
            <a:noFill/>
          </p:spPr>
          <p:txBody>
            <a:bodyPr wrap="square" rtlCol="0">
              <a:spAutoFit/>
            </a:bodyPr>
            <a:lstStyle/>
            <a:p>
              <a:pPr marL="0" marR="0" lvl="0" indent="0" algn="l" defTabSz="1149720"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Arial" panose="020B0604020202020204"/>
                  <a:ea typeface="+mn-ea"/>
                  <a:cs typeface="+mn-cs"/>
                </a:rPr>
                <a:t>Nasjonal grunndatakoordinator</a:t>
              </a:r>
            </a:p>
          </p:txBody>
        </p:sp>
      </p:grpSp>
      <p:grpSp>
        <p:nvGrpSpPr>
          <p:cNvPr id="11" name="Gruppe 10">
            <a:extLst>
              <a:ext uri="{FF2B5EF4-FFF2-40B4-BE49-F238E27FC236}">
                <a16:creationId xmlns:a16="http://schemas.microsoft.com/office/drawing/2014/main" id="{BB709FB2-933D-0C95-D224-6E0765E22C96}"/>
              </a:ext>
            </a:extLst>
          </p:cNvPr>
          <p:cNvGrpSpPr/>
          <p:nvPr/>
        </p:nvGrpSpPr>
        <p:grpSpPr>
          <a:xfrm>
            <a:off x="3174495" y="4161719"/>
            <a:ext cx="3904525" cy="1614394"/>
            <a:chOff x="2380741" y="3121223"/>
            <a:chExt cx="2928966" cy="1211029"/>
          </a:xfrm>
        </p:grpSpPr>
        <p:sp>
          <p:nvSpPr>
            <p:cNvPr id="6" name="TekstSylinder 5">
              <a:extLst>
                <a:ext uri="{FF2B5EF4-FFF2-40B4-BE49-F238E27FC236}">
                  <a16:creationId xmlns:a16="http://schemas.microsoft.com/office/drawing/2014/main" id="{4B008A3D-43DC-051C-8466-8BBF3296C523}"/>
                </a:ext>
              </a:extLst>
            </p:cNvPr>
            <p:cNvSpPr txBox="1"/>
            <p:nvPr/>
          </p:nvSpPr>
          <p:spPr>
            <a:xfrm>
              <a:off x="2380741" y="3121223"/>
              <a:ext cx="2928966" cy="500042"/>
            </a:xfrm>
            <a:prstGeom prst="rect">
              <a:avLst/>
            </a:prstGeom>
            <a:noFill/>
          </p:spPr>
          <p:txBody>
            <a:bodyPr wrap="square" rtlCol="0">
              <a:spAutoFit/>
            </a:bodyPr>
            <a:lstStyle/>
            <a:p>
              <a:pPr marL="0" marR="0" lvl="0" indent="0" algn="l" defTabSz="1149720"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Arial" panose="020B0604020202020204"/>
                  <a:ea typeface="+mn-ea"/>
                  <a:cs typeface="+mn-cs"/>
                </a:rPr>
                <a:t>Domeneansvarlig og grunndataforvalter</a:t>
              </a:r>
            </a:p>
          </p:txBody>
        </p:sp>
        <p:cxnSp>
          <p:nvCxnSpPr>
            <p:cNvPr id="7" name="Rett linje 6">
              <a:extLst>
                <a:ext uri="{FF2B5EF4-FFF2-40B4-BE49-F238E27FC236}">
                  <a16:creationId xmlns:a16="http://schemas.microsoft.com/office/drawing/2014/main" id="{66E37196-6CB1-9E8C-07E3-56FAC1A80342}"/>
                </a:ext>
              </a:extLst>
            </p:cNvPr>
            <p:cNvCxnSpPr>
              <a:cxnSpLocks/>
            </p:cNvCxnSpPr>
            <p:nvPr/>
          </p:nvCxnSpPr>
          <p:spPr>
            <a:xfrm flipH="1">
              <a:off x="2491387" y="3615012"/>
              <a:ext cx="2630326" cy="0"/>
            </a:xfrm>
            <a:prstGeom prst="line">
              <a:avLst/>
            </a:prstGeom>
            <a:ln>
              <a:solidFill>
                <a:srgbClr val="1E2B3C"/>
              </a:solidFill>
            </a:ln>
          </p:spPr>
          <p:style>
            <a:lnRef idx="1">
              <a:schemeClr val="accent1"/>
            </a:lnRef>
            <a:fillRef idx="0">
              <a:schemeClr val="accent1"/>
            </a:fillRef>
            <a:effectRef idx="0">
              <a:schemeClr val="accent1"/>
            </a:effectRef>
            <a:fontRef idx="minor">
              <a:schemeClr val="tx1"/>
            </a:fontRef>
          </p:style>
        </p:cxnSp>
        <p:sp>
          <p:nvSpPr>
            <p:cNvPr id="17" name="TekstSylinder 16">
              <a:extLst>
                <a:ext uri="{FF2B5EF4-FFF2-40B4-BE49-F238E27FC236}">
                  <a16:creationId xmlns:a16="http://schemas.microsoft.com/office/drawing/2014/main" id="{D453C41B-A51D-779D-270F-D32C030D20A8}"/>
                </a:ext>
              </a:extLst>
            </p:cNvPr>
            <p:cNvSpPr txBox="1"/>
            <p:nvPr/>
          </p:nvSpPr>
          <p:spPr>
            <a:xfrm>
              <a:off x="2383035" y="3616532"/>
              <a:ext cx="2738677" cy="715720"/>
            </a:xfrm>
            <a:prstGeom prst="rect">
              <a:avLst/>
            </a:prstGeom>
            <a:noFill/>
          </p:spPr>
          <p:txBody>
            <a:bodyPr wrap="square" rtlCol="0">
              <a:spAutoFit/>
            </a:bodyPr>
            <a:lstStyle/>
            <a:p>
              <a:pPr marL="0" marR="0" lvl="0" indent="0" algn="l" defTabSz="114972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Arial"/>
                </a:rPr>
                <a:t>Skal sørge for at grunndata tilhørende domene blir forvaltet og videreutviklet slik at dataene er oppdaterte, enkelt tilgjengelig og dekker samfunnets behov</a:t>
              </a:r>
              <a:endParaRPr kumimoji="0" lang="nb-NO" sz="1400" b="0" i="0" u="none" strike="noStrike" kern="1200" cap="none" spc="0" normalizeH="0" baseline="0" noProof="0">
                <a:ln>
                  <a:noFill/>
                </a:ln>
                <a:solidFill>
                  <a:srgbClr val="1E2B3C"/>
                </a:solidFill>
                <a:effectLst/>
                <a:uLnTx/>
                <a:uFillTx/>
                <a:latin typeface="Arial" panose="020B0604020202020204"/>
                <a:ea typeface="+mn-ea"/>
                <a:cs typeface="+mn-cs"/>
              </a:endParaRPr>
            </a:p>
          </p:txBody>
        </p:sp>
      </p:grpSp>
      <p:sp>
        <p:nvSpPr>
          <p:cNvPr id="20" name="TekstSylinder 19">
            <a:extLst>
              <a:ext uri="{FF2B5EF4-FFF2-40B4-BE49-F238E27FC236}">
                <a16:creationId xmlns:a16="http://schemas.microsoft.com/office/drawing/2014/main" id="{944FD21E-E554-2708-8ADF-B589856EC78C}"/>
              </a:ext>
            </a:extLst>
          </p:cNvPr>
          <p:cNvSpPr txBox="1"/>
          <p:nvPr/>
        </p:nvSpPr>
        <p:spPr>
          <a:xfrm>
            <a:off x="9060460" y="6488388"/>
            <a:ext cx="5095829" cy="954107"/>
          </a:xfrm>
          <a:prstGeom prst="rect">
            <a:avLst/>
          </a:prstGeom>
          <a:noFill/>
        </p:spPr>
        <p:txBody>
          <a:bodyPr wrap="square" rtlCol="0">
            <a:spAutoFit/>
          </a:bodyPr>
          <a:lstStyle/>
          <a:p>
            <a:pPr marL="0" marR="0" lvl="0" indent="0" algn="l" defTabSz="114972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Skal skape forutsigbarhet ved å vise hvem som forvalter grunndata, hvor er de og sammenhengen mellom dem. Oversikten skal også tydeliggjøre mangler og overlapp i datagrunnlaget til domenene. </a:t>
            </a:r>
          </a:p>
        </p:txBody>
      </p:sp>
      <p:sp>
        <p:nvSpPr>
          <p:cNvPr id="30" name="TekstSylinder 29">
            <a:extLst>
              <a:ext uri="{FF2B5EF4-FFF2-40B4-BE49-F238E27FC236}">
                <a16:creationId xmlns:a16="http://schemas.microsoft.com/office/drawing/2014/main" id="{18007077-84E1-115E-30A4-590227903FA1}"/>
              </a:ext>
            </a:extLst>
          </p:cNvPr>
          <p:cNvSpPr txBox="1"/>
          <p:nvPr/>
        </p:nvSpPr>
        <p:spPr>
          <a:xfrm>
            <a:off x="6578347" y="8597932"/>
            <a:ext cx="4366570" cy="338554"/>
          </a:xfrm>
          <a:prstGeom prst="rect">
            <a:avLst/>
          </a:prstGeom>
          <a:noFill/>
          <a:ln>
            <a:noFill/>
          </a:ln>
        </p:spPr>
        <p:txBody>
          <a:bodyPr wrap="square" rtlCol="0">
            <a:spAutoFit/>
          </a:bodyPr>
          <a:lstStyle/>
          <a:p>
            <a:pPr marL="0" marR="0" lvl="0" indent="0" algn="ctr" defTabSz="1149834"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litisk oppmerksomhet og styring</a:t>
            </a:r>
          </a:p>
        </p:txBody>
      </p:sp>
      <p:pic>
        <p:nvPicPr>
          <p:cNvPr id="5" name="Bilde 4">
            <a:extLst>
              <a:ext uri="{FF2B5EF4-FFF2-40B4-BE49-F238E27FC236}">
                <a16:creationId xmlns:a16="http://schemas.microsoft.com/office/drawing/2014/main" id="{4924A52C-A6BC-3BA5-006C-4D7098546153}"/>
              </a:ext>
            </a:extLst>
          </p:cNvPr>
          <p:cNvPicPr>
            <a:picLocks noChangeAspect="1"/>
          </p:cNvPicPr>
          <p:nvPr/>
        </p:nvPicPr>
        <p:blipFill>
          <a:blip r:embed="rId3"/>
          <a:stretch>
            <a:fillRect/>
          </a:stretch>
        </p:blipFill>
        <p:spPr>
          <a:xfrm rot="1973079">
            <a:off x="6642219" y="2225667"/>
            <a:ext cx="4238827" cy="4238827"/>
          </a:xfrm>
          <a:prstGeom prst="rect">
            <a:avLst/>
          </a:prstGeom>
        </p:spPr>
      </p:pic>
      <p:sp>
        <p:nvSpPr>
          <p:cNvPr id="4" name="Ellipse 3">
            <a:extLst>
              <a:ext uri="{FF2B5EF4-FFF2-40B4-BE49-F238E27FC236}">
                <a16:creationId xmlns:a16="http://schemas.microsoft.com/office/drawing/2014/main" id="{BC7B11B0-91BE-4F10-27C6-F4ACDDD7FE6B}"/>
              </a:ext>
            </a:extLst>
          </p:cNvPr>
          <p:cNvSpPr/>
          <p:nvPr/>
        </p:nvSpPr>
        <p:spPr>
          <a:xfrm>
            <a:off x="7858523" y="3158113"/>
            <a:ext cx="2430168" cy="2301317"/>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834" rtl="0" eaLnBrk="1" fontAlgn="auto" latinLnBrk="0" hangingPunct="1">
              <a:lnSpc>
                <a:spcPct val="100000"/>
              </a:lnSpc>
              <a:spcBef>
                <a:spcPts val="0"/>
              </a:spcBef>
              <a:spcAft>
                <a:spcPts val="0"/>
              </a:spcAft>
              <a:buClrTx/>
              <a:buSzTx/>
              <a:buFontTx/>
              <a:buNone/>
              <a:tabLst/>
              <a:defRPr/>
            </a:pPr>
            <a:endParaRPr kumimoji="0" lang="nb-NO" sz="1866"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kstSylinder 18">
            <a:extLst>
              <a:ext uri="{FF2B5EF4-FFF2-40B4-BE49-F238E27FC236}">
                <a16:creationId xmlns:a16="http://schemas.microsoft.com/office/drawing/2014/main" id="{702D176E-B01F-BDD7-7800-968606628401}"/>
              </a:ext>
            </a:extLst>
          </p:cNvPr>
          <p:cNvSpPr txBox="1"/>
          <p:nvPr/>
        </p:nvSpPr>
        <p:spPr>
          <a:xfrm>
            <a:off x="7575401" y="3870149"/>
            <a:ext cx="2629399" cy="953723"/>
          </a:xfrm>
          <a:prstGeom prst="rect">
            <a:avLst/>
          </a:prstGeom>
          <a:solidFill>
            <a:schemeClr val="accent6">
              <a:lumMod val="20000"/>
              <a:lumOff val="80000"/>
            </a:schemeClr>
          </a:solidFill>
        </p:spPr>
        <p:txBody>
          <a:bodyPr wrap="square" rtlCol="0">
            <a:spAutoFit/>
          </a:bodyPr>
          <a:lstStyle/>
          <a:p>
            <a:pPr marL="0" marR="0" lvl="0" indent="0" algn="ctr" defTabSz="1149834"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prstClr val="black"/>
                </a:solidFill>
                <a:effectLst/>
                <a:uLnTx/>
                <a:uFillTx/>
                <a:latin typeface="Calibri" panose="020F0502020204030204"/>
                <a:ea typeface="+mn-ea"/>
                <a:cs typeface="+mn-cs"/>
              </a:rPr>
              <a:t>Standardisering</a:t>
            </a:r>
          </a:p>
          <a:p>
            <a:pPr marL="0" marR="0" lvl="0" indent="0" algn="ctr" defTabSz="1149834"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prstClr val="black"/>
                </a:solidFill>
                <a:effectLst/>
                <a:uLnTx/>
                <a:uFillTx/>
                <a:latin typeface="Calibri" panose="020F0502020204030204"/>
                <a:ea typeface="+mn-ea"/>
                <a:cs typeface="+mn-cs"/>
              </a:rPr>
              <a:t>Konsumentorientering</a:t>
            </a:r>
          </a:p>
          <a:p>
            <a:pPr marL="0" marR="0" lvl="0" indent="0" algn="ctr" defTabSz="1149834"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prstClr val="black"/>
                </a:solidFill>
                <a:effectLst/>
                <a:uLnTx/>
                <a:uFillTx/>
                <a:latin typeface="Calibri" panose="020F0502020204030204"/>
                <a:ea typeface="+mn-ea"/>
                <a:cs typeface="+mn-cs"/>
              </a:rPr>
              <a:t>Juss</a:t>
            </a:r>
          </a:p>
        </p:txBody>
      </p:sp>
      <p:sp>
        <p:nvSpPr>
          <p:cNvPr id="2" name="Ellipse 1">
            <a:extLst>
              <a:ext uri="{FF2B5EF4-FFF2-40B4-BE49-F238E27FC236}">
                <a16:creationId xmlns:a16="http://schemas.microsoft.com/office/drawing/2014/main" id="{846C4DD1-2697-7401-828C-514A2BD46103}"/>
              </a:ext>
            </a:extLst>
          </p:cNvPr>
          <p:cNvSpPr/>
          <p:nvPr/>
        </p:nvSpPr>
        <p:spPr>
          <a:xfrm>
            <a:off x="2836475" y="833350"/>
            <a:ext cx="12347721" cy="7736872"/>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kstSylinder 2">
            <a:extLst>
              <a:ext uri="{FF2B5EF4-FFF2-40B4-BE49-F238E27FC236}">
                <a16:creationId xmlns:a16="http://schemas.microsoft.com/office/drawing/2014/main" id="{10DBCE99-477E-3BF2-3A7E-48BE0D236267}"/>
              </a:ext>
            </a:extLst>
          </p:cNvPr>
          <p:cNvSpPr txBox="1"/>
          <p:nvPr/>
        </p:nvSpPr>
        <p:spPr>
          <a:xfrm>
            <a:off x="7181713" y="346030"/>
            <a:ext cx="3657243" cy="410228"/>
          </a:xfrm>
          <a:prstGeom prst="rect">
            <a:avLst/>
          </a:prstGeom>
          <a:noFill/>
        </p:spPr>
        <p:txBody>
          <a:bodyPr rot="0" spcFirstLastPara="0" vertOverflow="overflow" horzOverflow="overflow" vert="horz" wrap="square" lIns="121908" tIns="60954" rIns="121908" bIns="60954" numCol="1" spcCol="0" rtlCol="0" fromWordArt="0" anchor="t" anchorCtr="0" forceAA="0" compatLnSpc="1">
            <a:prstTxWarp prst="textNoShape">
              <a:avLst/>
            </a:prstTxWarp>
            <a:sp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Arial" panose="020B0604020202020204"/>
                <a:ea typeface="+mn-ea"/>
                <a:cs typeface="+mn-cs"/>
              </a:rPr>
              <a:t>Rammeverk</a:t>
            </a:r>
            <a:endParaRPr kumimoji="0" lang="nb-NO" sz="1866" b="1" i="0" u="none" strike="noStrike" kern="1200" cap="none" spc="0" normalizeH="0" baseline="0" noProof="0">
              <a:ln>
                <a:noFill/>
              </a:ln>
              <a:solidFill>
                <a:srgbClr val="1E2B3C"/>
              </a:solidFill>
              <a:effectLst/>
              <a:uLnTx/>
              <a:uFillTx/>
              <a:latin typeface="Arial" panose="020B0604020202020204"/>
              <a:ea typeface="+mn-ea"/>
              <a:cs typeface="Arial"/>
            </a:endParaRPr>
          </a:p>
        </p:txBody>
      </p:sp>
      <p:sp>
        <p:nvSpPr>
          <p:cNvPr id="18" name="TekstSylinder 17">
            <a:extLst>
              <a:ext uri="{FF2B5EF4-FFF2-40B4-BE49-F238E27FC236}">
                <a16:creationId xmlns:a16="http://schemas.microsoft.com/office/drawing/2014/main" id="{193B8679-9B41-3CD0-9B18-847F107DBFC2}"/>
              </a:ext>
            </a:extLst>
          </p:cNvPr>
          <p:cNvSpPr txBox="1"/>
          <p:nvPr/>
        </p:nvSpPr>
        <p:spPr>
          <a:xfrm>
            <a:off x="130380" y="7244451"/>
            <a:ext cx="8127206" cy="1815882"/>
          </a:xfrm>
          <a:prstGeom prst="rect">
            <a:avLst/>
          </a:prstGeom>
          <a:noFill/>
        </p:spPr>
        <p:txBody>
          <a:bodyPr wrap="square">
            <a:spAutoFit/>
          </a:bodyPr>
          <a:lstStyle/>
          <a:p>
            <a:pPr marL="457154" marR="0" lvl="0" indent="-457154" algn="l" defTabSz="1219078"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Domene og grunndataforvalter</a:t>
            </a:r>
            <a:endPar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457154" marR="0" lvl="0" indent="-457154" algn="l" defTabSz="1219078"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Nasjonal grunndataoversikt</a:t>
            </a:r>
            <a:endPar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457154" marR="0" lvl="0" indent="-457154" algn="l" defTabSz="1219078"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Nasjonal grunndatakoordinator</a:t>
            </a:r>
            <a:endPar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457154" marR="0" lvl="0" indent="-457154" algn="l" defTabSz="1219078"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Politisk oppmerksomhet og styring</a:t>
            </a:r>
            <a:endPar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457154" marR="0" lvl="0" indent="-457154" algn="l" defTabSz="1219078"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tandardisering</a:t>
            </a:r>
            <a:endPar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457154" marR="0" lvl="0" indent="-457154" algn="l" defTabSz="1219078"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Juridiske virkemidler</a:t>
            </a:r>
            <a:endPar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457154" marR="0" lvl="0" indent="-457154" algn="l" defTabSz="1219078"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Bruker-/konsumentorientering</a:t>
            </a:r>
            <a:endParaRPr kumimoji="0" lang="nb-NO" sz="16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5714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94A55444-C4BD-71C8-F116-95C92BF9F0D8}"/>
              </a:ext>
            </a:extLst>
          </p:cNvPr>
          <p:cNvPicPr>
            <a:picLocks noChangeAspect="1"/>
          </p:cNvPicPr>
          <p:nvPr/>
        </p:nvPicPr>
        <p:blipFill rotWithShape="1">
          <a:blip r:embed="rId3"/>
          <a:srcRect b="19"/>
          <a:stretch/>
        </p:blipFill>
        <p:spPr>
          <a:xfrm>
            <a:off x="0" y="446"/>
            <a:ext cx="16254386" cy="9141398"/>
          </a:xfrm>
          <a:prstGeom prst="rect">
            <a:avLst/>
          </a:prstGeom>
        </p:spPr>
      </p:pic>
      <p:sp>
        <p:nvSpPr>
          <p:cNvPr id="4" name="TekstSylinder 3">
            <a:extLst>
              <a:ext uri="{FF2B5EF4-FFF2-40B4-BE49-F238E27FC236}">
                <a16:creationId xmlns:a16="http://schemas.microsoft.com/office/drawing/2014/main" id="{184C0B09-21DC-474F-28F4-41164A467B2A}"/>
              </a:ext>
            </a:extLst>
          </p:cNvPr>
          <p:cNvSpPr txBox="1"/>
          <p:nvPr/>
        </p:nvSpPr>
        <p:spPr>
          <a:xfrm>
            <a:off x="3601576" y="2232273"/>
            <a:ext cx="9652449" cy="2308068"/>
          </a:xfrm>
          <a:prstGeom prst="rect">
            <a:avLst/>
          </a:prstGeom>
          <a:solidFill>
            <a:schemeClr val="accent1"/>
          </a:solidFill>
        </p:spPr>
        <p:txBody>
          <a:bodyPr wrap="square" rtlCol="0">
            <a:spAutoFit/>
          </a:bodyPr>
          <a:lstStyle/>
          <a:p>
            <a:pPr algn="ctr"/>
            <a:r>
              <a:rPr lang="nb-NO" sz="7999" dirty="0">
                <a:solidFill>
                  <a:schemeClr val="bg1"/>
                </a:solidFill>
              </a:rPr>
              <a:t>Rammeverk</a:t>
            </a:r>
          </a:p>
          <a:p>
            <a:endParaRPr lang="nb-NO" sz="6399" dirty="0">
              <a:solidFill>
                <a:schemeClr val="bg1"/>
              </a:solidFill>
            </a:endParaRPr>
          </a:p>
        </p:txBody>
      </p:sp>
    </p:spTree>
    <p:extLst>
      <p:ext uri="{BB962C8B-B14F-4D97-AF65-F5344CB8AC3E}">
        <p14:creationId xmlns:p14="http://schemas.microsoft.com/office/powerpoint/2010/main" val="1389443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Plassholder for innhold 6">
            <a:extLst>
              <a:ext uri="{FF2B5EF4-FFF2-40B4-BE49-F238E27FC236}">
                <a16:creationId xmlns:a16="http://schemas.microsoft.com/office/drawing/2014/main" id="{F6DC6B29-DEE1-9717-B83E-50339718227E}"/>
              </a:ext>
            </a:extLst>
          </p:cNvPr>
          <p:cNvGraphicFramePr>
            <a:graphicFrameLocks noGrp="1"/>
          </p:cNvGraphicFramePr>
          <p:nvPr>
            <p:ph idx="1"/>
            <p:extLst>
              <p:ext uri="{D42A27DB-BD31-4B8C-83A1-F6EECF244321}">
                <p14:modId xmlns:p14="http://schemas.microsoft.com/office/powerpoint/2010/main" val="2975446713"/>
              </p:ext>
            </p:extLst>
          </p:nvPr>
        </p:nvGraphicFramePr>
        <p:xfrm>
          <a:off x="996970" y="2207125"/>
          <a:ext cx="14594305" cy="5991728"/>
        </p:xfrm>
        <a:graphic>
          <a:graphicData uri="http://schemas.openxmlformats.org/drawingml/2006/table">
            <a:tbl>
              <a:tblPr firstRow="1" firstCol="1" bandRow="1"/>
              <a:tblGrid>
                <a:gridCol w="3679352">
                  <a:extLst>
                    <a:ext uri="{9D8B030D-6E8A-4147-A177-3AD203B41FA5}">
                      <a16:colId xmlns:a16="http://schemas.microsoft.com/office/drawing/2014/main" val="3640969879"/>
                    </a:ext>
                  </a:extLst>
                </a:gridCol>
                <a:gridCol w="10914953">
                  <a:extLst>
                    <a:ext uri="{9D8B030D-6E8A-4147-A177-3AD203B41FA5}">
                      <a16:colId xmlns:a16="http://schemas.microsoft.com/office/drawing/2014/main" val="1900479618"/>
                    </a:ext>
                  </a:extLst>
                </a:gridCol>
              </a:tblGrid>
              <a:tr h="2246898">
                <a:tc>
                  <a:txBody>
                    <a:bodyPr/>
                    <a:lstStyle/>
                    <a:p>
                      <a:r>
                        <a:rPr lang="nb-NO" sz="2400" dirty="0">
                          <a:effectLst/>
                          <a:latin typeface="Arial" panose="020B0604020202020204" pitchFamily="34" charset="0"/>
                          <a:ea typeface="Times New Roman" panose="02020603050405020304" pitchFamily="18" charset="0"/>
                          <a:cs typeface="Times New Roman" panose="02020603050405020304" pitchFamily="18" charset="0"/>
                        </a:rPr>
                        <a:t>Del 1: Organisering, roller og aktør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nb-NO" sz="2400" dirty="0">
                          <a:effectLst/>
                          <a:latin typeface="Arial" panose="020B0604020202020204" pitchFamily="34" charset="0"/>
                          <a:ea typeface="Times New Roman" panose="02020603050405020304" pitchFamily="18" charset="0"/>
                          <a:cs typeface="Times New Roman" panose="02020603050405020304" pitchFamily="18" charset="0"/>
                        </a:rPr>
                        <a:t>Dette kapitlet beskriver rammeverkets hovedaktør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2144130"/>
                  </a:ext>
                </a:extLst>
              </a:tr>
              <a:tr h="1497932">
                <a:tc>
                  <a:txBody>
                    <a:bodyPr/>
                    <a:lstStyle/>
                    <a:p>
                      <a:r>
                        <a:rPr lang="nb-NO" sz="2400" dirty="0">
                          <a:effectLst/>
                          <a:latin typeface="Arial" panose="020B0604020202020204" pitchFamily="34" charset="0"/>
                          <a:ea typeface="Times New Roman" panose="02020603050405020304" pitchFamily="18" charset="0"/>
                          <a:cs typeface="Times New Roman" panose="02020603050405020304" pitchFamily="18" charset="0"/>
                        </a:rPr>
                        <a:t>Del 2: Kriterier og prinsipper for nasjonale grunndat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nb-NO" sz="2400" dirty="0">
                          <a:effectLst/>
                          <a:latin typeface="Arial" panose="020B0604020202020204" pitchFamily="34" charset="0"/>
                          <a:ea typeface="Times New Roman" panose="02020603050405020304" pitchFamily="18" charset="0"/>
                          <a:cs typeface="Times New Roman" panose="02020603050405020304" pitchFamily="18" charset="0"/>
                        </a:rPr>
                        <a:t>Dette kapitlet fastsetter, på overordnet nivå, kriteriene og prinsippene som skal gjelde for de nasjonale grunndataene, deres tilbydere og konsument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5469133"/>
                  </a:ext>
                </a:extLst>
              </a:tr>
              <a:tr h="2246898">
                <a:tc>
                  <a:txBody>
                    <a:bodyPr/>
                    <a:lstStyle/>
                    <a:p>
                      <a:r>
                        <a:rPr lang="nb-NO" sz="2400" dirty="0">
                          <a:effectLst/>
                          <a:latin typeface="Arial" panose="020B0604020202020204" pitchFamily="34" charset="0"/>
                          <a:ea typeface="Times New Roman" panose="02020603050405020304" pitchFamily="18" charset="0"/>
                          <a:cs typeface="Times New Roman" panose="02020603050405020304" pitchFamily="18" charset="0"/>
                        </a:rPr>
                        <a:t>Del 3: Prosess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nb-NO" sz="2400" dirty="0">
                          <a:effectLst/>
                          <a:latin typeface="Arial" panose="020B0604020202020204" pitchFamily="34" charset="0"/>
                          <a:ea typeface="Times New Roman" panose="02020603050405020304" pitchFamily="18" charset="0"/>
                          <a:cs typeface="Times New Roman" panose="02020603050405020304" pitchFamily="18" charset="0"/>
                        </a:rPr>
                        <a:t>Dette kapittelet skisserer prosessene for hvordan aktiviteter skal utføres. Prosessen er inndelt i det vi har kalt utviklingsfas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5859938"/>
                  </a:ext>
                </a:extLst>
              </a:tr>
            </a:tbl>
          </a:graphicData>
        </a:graphic>
      </p:graphicFrame>
      <p:sp>
        <p:nvSpPr>
          <p:cNvPr id="8" name="Tittel 1">
            <a:extLst>
              <a:ext uri="{FF2B5EF4-FFF2-40B4-BE49-F238E27FC236}">
                <a16:creationId xmlns:a16="http://schemas.microsoft.com/office/drawing/2014/main" id="{FB745CDC-BE48-C358-DFD2-D320B305EC09}"/>
              </a:ext>
            </a:extLst>
          </p:cNvPr>
          <p:cNvSpPr>
            <a:spLocks noGrp="1"/>
          </p:cNvSpPr>
          <p:nvPr>
            <p:ph type="title"/>
          </p:nvPr>
        </p:nvSpPr>
        <p:spPr>
          <a:xfrm>
            <a:off x="996970" y="1264096"/>
            <a:ext cx="12295197" cy="692497"/>
          </a:xfrm>
        </p:spPr>
        <p:txBody>
          <a:bodyPr/>
          <a:lstStyle/>
          <a:p>
            <a:r>
              <a:rPr lang="nb-NO" b="1" dirty="0"/>
              <a:t>Rammeverk - innhold</a:t>
            </a:r>
          </a:p>
        </p:txBody>
      </p:sp>
    </p:spTree>
    <p:extLst>
      <p:ext uri="{BB962C8B-B14F-4D97-AF65-F5344CB8AC3E}">
        <p14:creationId xmlns:p14="http://schemas.microsoft.com/office/powerpoint/2010/main" val="25635735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E3C23-995C-B31D-32F2-83F4BC724AF1}"/>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0595B294-4911-C198-816F-48770D58B42D}"/>
              </a:ext>
            </a:extLst>
          </p:cNvPr>
          <p:cNvSpPr/>
          <p:nvPr/>
        </p:nvSpPr>
        <p:spPr>
          <a:xfrm>
            <a:off x="-1" y="447"/>
            <a:ext cx="16254413" cy="9143107"/>
          </a:xfrm>
          <a:prstGeom prst="rect">
            <a:avLst/>
          </a:prstGeom>
          <a:solidFill>
            <a:srgbClr val="E5A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149949" rtl="0" eaLnBrk="1" fontAlgn="auto" latinLnBrk="0" hangingPunct="1">
              <a:lnSpc>
                <a:spcPct val="100000"/>
              </a:lnSpc>
              <a:spcBef>
                <a:spcPts val="0"/>
              </a:spcBef>
              <a:spcAft>
                <a:spcPts val="0"/>
              </a:spcAft>
              <a:buClrTx/>
              <a:buSzTx/>
              <a:buFontTx/>
              <a:buNone/>
              <a:tabLst/>
              <a:defRPr/>
            </a:pPr>
            <a:endParaRPr kumimoji="0" lang="nb-NO" sz="301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3C4B6999-224C-2537-50A1-FF611306AE23}"/>
              </a:ext>
            </a:extLst>
          </p:cNvPr>
          <p:cNvSpPr>
            <a:spLocks noGrp="1"/>
          </p:cNvSpPr>
          <p:nvPr>
            <p:ph type="title"/>
          </p:nvPr>
        </p:nvSpPr>
        <p:spPr>
          <a:xfrm>
            <a:off x="4076301" y="4105835"/>
            <a:ext cx="8101808" cy="932329"/>
          </a:xfrm>
        </p:spPr>
        <p:txBody>
          <a:bodyPr>
            <a:noAutofit/>
          </a:bodyPr>
          <a:lstStyle/>
          <a:p>
            <a:pPr algn="ctr"/>
            <a:r>
              <a:rPr lang="nb-NO" sz="7000" b="1" dirty="0"/>
              <a:t>Utprøving i caser</a:t>
            </a:r>
          </a:p>
        </p:txBody>
      </p:sp>
    </p:spTree>
    <p:extLst>
      <p:ext uri="{BB962C8B-B14F-4D97-AF65-F5344CB8AC3E}">
        <p14:creationId xmlns:p14="http://schemas.microsoft.com/office/powerpoint/2010/main" val="41541641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C497A0-E2E4-168A-C393-913BC31949A2}"/>
            </a:ext>
          </a:extLst>
        </p:cNvPr>
        <p:cNvGrpSpPr/>
        <p:nvPr/>
      </p:nvGrpSpPr>
      <p:grpSpPr>
        <a:xfrm>
          <a:off x="0" y="0"/>
          <a:ext cx="0" cy="0"/>
          <a:chOff x="0" y="0"/>
          <a:chExt cx="0" cy="0"/>
        </a:xfrm>
      </p:grpSpPr>
      <p:graphicFrame>
        <p:nvGraphicFramePr>
          <p:cNvPr id="7" name="Plassholder for innhold 6">
            <a:extLst>
              <a:ext uri="{FF2B5EF4-FFF2-40B4-BE49-F238E27FC236}">
                <a16:creationId xmlns:a16="http://schemas.microsoft.com/office/drawing/2014/main" id="{A84DCC11-6778-3793-43E2-4F8E7762DD59}"/>
              </a:ext>
            </a:extLst>
          </p:cNvPr>
          <p:cNvGraphicFramePr>
            <a:graphicFrameLocks noGrp="1"/>
          </p:cNvGraphicFramePr>
          <p:nvPr>
            <p:ph idx="1"/>
          </p:nvPr>
        </p:nvGraphicFramePr>
        <p:xfrm>
          <a:off x="996970" y="2207125"/>
          <a:ext cx="14594305" cy="5991728"/>
        </p:xfrm>
        <a:graphic>
          <a:graphicData uri="http://schemas.openxmlformats.org/drawingml/2006/table">
            <a:tbl>
              <a:tblPr firstRow="1" firstCol="1" bandRow="1"/>
              <a:tblGrid>
                <a:gridCol w="3679352">
                  <a:extLst>
                    <a:ext uri="{9D8B030D-6E8A-4147-A177-3AD203B41FA5}">
                      <a16:colId xmlns:a16="http://schemas.microsoft.com/office/drawing/2014/main" val="3640969879"/>
                    </a:ext>
                  </a:extLst>
                </a:gridCol>
                <a:gridCol w="10914953">
                  <a:extLst>
                    <a:ext uri="{9D8B030D-6E8A-4147-A177-3AD203B41FA5}">
                      <a16:colId xmlns:a16="http://schemas.microsoft.com/office/drawing/2014/main" val="1900479618"/>
                    </a:ext>
                  </a:extLst>
                </a:gridCol>
              </a:tblGrid>
              <a:tr h="2246898">
                <a:tc>
                  <a:txBody>
                    <a:bodyPr/>
                    <a:lstStyle/>
                    <a:p>
                      <a:r>
                        <a:rPr lang="nb-NO" sz="2400">
                          <a:effectLst/>
                          <a:latin typeface="Arial" panose="020B0604020202020204" pitchFamily="34" charset="0"/>
                          <a:ea typeface="Times New Roman" panose="02020603050405020304" pitchFamily="18" charset="0"/>
                          <a:cs typeface="Times New Roman" panose="02020603050405020304" pitchFamily="18" charset="0"/>
                        </a:rPr>
                        <a:t>Del 1: Kriterier og prinsipper for nasjonale grunndat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nb-NO" sz="2400">
                          <a:effectLst/>
                          <a:latin typeface="Arial" panose="020B0604020202020204" pitchFamily="34" charset="0"/>
                          <a:ea typeface="Times New Roman" panose="02020603050405020304" pitchFamily="18" charset="0"/>
                          <a:cs typeface="Times New Roman" panose="02020603050405020304" pitchFamily="18" charset="0"/>
                        </a:rPr>
                        <a:t>Dette kapitlet fastsetter, på overordnet nivå, kriteriene og prinsippene som skal gjelde for de nasjonale grunndataene, deres tilbydere og konsument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6497835"/>
                  </a:ext>
                </a:extLst>
              </a:tr>
              <a:tr h="1497932">
                <a:tc>
                  <a:txBody>
                    <a:bodyPr/>
                    <a:lstStyle/>
                    <a:p>
                      <a:r>
                        <a:rPr lang="nb-NO" sz="2400">
                          <a:effectLst/>
                          <a:latin typeface="Arial" panose="020B0604020202020204" pitchFamily="34" charset="0"/>
                          <a:ea typeface="Times New Roman" panose="02020603050405020304" pitchFamily="18" charset="0"/>
                          <a:cs typeface="Times New Roman" panose="02020603050405020304" pitchFamily="18" charset="0"/>
                        </a:rPr>
                        <a:t>Del 2: Organisering, roller og aktør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nb-NO" sz="2400">
                          <a:effectLst/>
                          <a:latin typeface="Arial" panose="020B0604020202020204" pitchFamily="34" charset="0"/>
                          <a:ea typeface="Times New Roman" panose="02020603050405020304" pitchFamily="18" charset="0"/>
                          <a:cs typeface="Times New Roman" panose="02020603050405020304" pitchFamily="18" charset="0"/>
                        </a:rPr>
                        <a:t>Dette kapitlet beskriver rammeverkets hovedaktør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5469133"/>
                  </a:ext>
                </a:extLst>
              </a:tr>
              <a:tr h="2246898">
                <a:tc>
                  <a:txBody>
                    <a:bodyPr/>
                    <a:lstStyle/>
                    <a:p>
                      <a:r>
                        <a:rPr lang="nb-NO" sz="2400" dirty="0">
                          <a:solidFill>
                            <a:schemeClr val="bg2">
                              <a:lumMod val="75000"/>
                            </a:schemeClr>
                          </a:solidFill>
                          <a:effectLst/>
                          <a:latin typeface="Arial" panose="020B0604020202020204" pitchFamily="34" charset="0"/>
                          <a:ea typeface="Times New Roman" panose="02020603050405020304" pitchFamily="18" charset="0"/>
                          <a:cs typeface="Times New Roman" panose="02020603050405020304" pitchFamily="18" charset="0"/>
                        </a:rPr>
                        <a:t>Del 3: Prosess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nb-NO" sz="2400" dirty="0">
                          <a:solidFill>
                            <a:schemeClr val="bg2">
                              <a:lumMod val="75000"/>
                            </a:schemeClr>
                          </a:solidFill>
                          <a:effectLst/>
                          <a:latin typeface="Arial" panose="020B0604020202020204" pitchFamily="34" charset="0"/>
                          <a:ea typeface="Times New Roman" panose="02020603050405020304" pitchFamily="18" charset="0"/>
                          <a:cs typeface="Times New Roman" panose="02020603050405020304" pitchFamily="18" charset="0"/>
                        </a:rPr>
                        <a:t>Dette kapittelet skisserer prosessene for hvordan aktiviteter skal utføres. Prosessen er inndelt i det vi har kalt utviklingsfas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5859938"/>
                  </a:ext>
                </a:extLst>
              </a:tr>
            </a:tbl>
          </a:graphicData>
        </a:graphic>
      </p:graphicFrame>
      <p:sp>
        <p:nvSpPr>
          <p:cNvPr id="8" name="Tittel 1">
            <a:extLst>
              <a:ext uri="{FF2B5EF4-FFF2-40B4-BE49-F238E27FC236}">
                <a16:creationId xmlns:a16="http://schemas.microsoft.com/office/drawing/2014/main" id="{42514806-F371-C042-B21E-44B6E1285EB3}"/>
              </a:ext>
            </a:extLst>
          </p:cNvPr>
          <p:cNvSpPr>
            <a:spLocks noGrp="1"/>
          </p:cNvSpPr>
          <p:nvPr>
            <p:ph type="title"/>
          </p:nvPr>
        </p:nvSpPr>
        <p:spPr>
          <a:xfrm>
            <a:off x="996970" y="1264096"/>
            <a:ext cx="12295197" cy="692497"/>
          </a:xfrm>
        </p:spPr>
        <p:txBody>
          <a:bodyPr/>
          <a:lstStyle/>
          <a:p>
            <a:r>
              <a:rPr lang="nb-NO" b="1" dirty="0"/>
              <a:t>Rammeverk – utprøving av del 1 og 2</a:t>
            </a:r>
          </a:p>
        </p:txBody>
      </p:sp>
    </p:spTree>
    <p:extLst>
      <p:ext uri="{BB962C8B-B14F-4D97-AF65-F5344CB8AC3E}">
        <p14:creationId xmlns:p14="http://schemas.microsoft.com/office/powerpoint/2010/main" val="1948015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8376B1-33D3-D782-7EA3-301E468E9FF8}"/>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42D49C83-E783-7F06-64D6-A6BC4D8C6C36}"/>
              </a:ext>
            </a:extLst>
          </p:cNvPr>
          <p:cNvSpPr>
            <a:spLocks noGrp="1"/>
          </p:cNvSpPr>
          <p:nvPr>
            <p:ph type="title"/>
          </p:nvPr>
        </p:nvSpPr>
        <p:spPr/>
        <p:txBody>
          <a:bodyPr/>
          <a:lstStyle/>
          <a:p>
            <a:r>
              <a:rPr lang="nb-NO" dirty="0"/>
              <a:t>Caser</a:t>
            </a:r>
          </a:p>
        </p:txBody>
      </p:sp>
      <p:sp>
        <p:nvSpPr>
          <p:cNvPr id="3" name="Plassholder for innhold 2">
            <a:extLst>
              <a:ext uri="{FF2B5EF4-FFF2-40B4-BE49-F238E27FC236}">
                <a16:creationId xmlns:a16="http://schemas.microsoft.com/office/drawing/2014/main" id="{F4C02B7A-FA47-C5CE-947D-F22BEC430F28}"/>
              </a:ext>
            </a:extLst>
          </p:cNvPr>
          <p:cNvSpPr>
            <a:spLocks noGrp="1"/>
          </p:cNvSpPr>
          <p:nvPr>
            <p:ph idx="1"/>
          </p:nvPr>
        </p:nvSpPr>
        <p:spPr/>
        <p:txBody>
          <a:bodyPr/>
          <a:lstStyle/>
          <a:p>
            <a:r>
              <a:rPr lang="nb-NO" dirty="0"/>
              <a:t>Hoved</a:t>
            </a:r>
          </a:p>
          <a:p>
            <a:pPr lvl="1"/>
            <a:r>
              <a:rPr lang="nb-NO" dirty="0"/>
              <a:t>Arbeidsforholdsdata (Aa-registeret)</a:t>
            </a:r>
          </a:p>
          <a:p>
            <a:pPr lvl="1"/>
            <a:r>
              <a:rPr lang="nb-NO" dirty="0"/>
              <a:t>Høyde- og dybdedata</a:t>
            </a:r>
          </a:p>
          <a:p>
            <a:r>
              <a:rPr lang="nb-NO" dirty="0"/>
              <a:t>Supplerende / verifiserende</a:t>
            </a:r>
          </a:p>
          <a:p>
            <a:pPr lvl="1"/>
            <a:r>
              <a:rPr lang="nb-NO" dirty="0"/>
              <a:t>Samferdselsdata (Trafikverket Sverige)</a:t>
            </a:r>
          </a:p>
          <a:p>
            <a:pPr lvl="1"/>
            <a:r>
              <a:rPr lang="nb-NO" dirty="0"/>
              <a:t>Halden kommune</a:t>
            </a:r>
          </a:p>
          <a:p>
            <a:pPr lvl="1"/>
            <a:r>
              <a:rPr lang="nb-NO" dirty="0"/>
              <a:t>Bruksstatistikk for ID-porten innlogginger</a:t>
            </a:r>
          </a:p>
          <a:p>
            <a:pPr lvl="1"/>
            <a:r>
              <a:rPr lang="nb-NO" dirty="0"/>
              <a:t>Helsepersonell- og fastlegeregisteret</a:t>
            </a:r>
          </a:p>
          <a:p>
            <a:pPr lvl="1"/>
            <a:endParaRPr lang="nb-NO" dirty="0"/>
          </a:p>
        </p:txBody>
      </p:sp>
    </p:spTree>
    <p:extLst>
      <p:ext uri="{BB962C8B-B14F-4D97-AF65-F5344CB8AC3E}">
        <p14:creationId xmlns:p14="http://schemas.microsoft.com/office/powerpoint/2010/main" val="33755898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633C584-E891-805F-D550-B42A17A4D25E}"/>
            </a:ext>
          </a:extLst>
        </p:cNvPr>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B639ED35-02A9-4C66-EE84-2EB0DD30AE1D}"/>
              </a:ext>
            </a:extLst>
          </p:cNvPr>
          <p:cNvSpPr>
            <a:spLocks noGrp="1"/>
          </p:cNvSpPr>
          <p:nvPr>
            <p:ph idx="1"/>
          </p:nvPr>
        </p:nvSpPr>
        <p:spPr>
          <a:xfrm>
            <a:off x="837946" y="3207224"/>
            <a:ext cx="5666539" cy="5154025"/>
          </a:xfrm>
        </p:spPr>
        <p:txBody>
          <a:bodyPr>
            <a:normAutofit/>
          </a:bodyPr>
          <a:lstStyle/>
          <a:p>
            <a:r>
              <a:rPr lang="nb-NO" sz="2200" dirty="0">
                <a:solidFill>
                  <a:srgbClr val="1E3145"/>
                </a:solidFill>
                <a:latin typeface="Arial" panose="020B0604020202020204" pitchFamily="34" charset="0"/>
                <a:ea typeface="Calibri" panose="020F0502020204030204" pitchFamily="34" charset="0"/>
                <a:cs typeface="Arial" panose="020B0604020202020204" pitchFamily="34" charset="0"/>
              </a:rPr>
              <a:t>B</a:t>
            </a:r>
            <a:r>
              <a:rPr lang="nb-NO" sz="2200" dirty="0">
                <a:solidFill>
                  <a:srgbClr val="1E3145"/>
                </a:solidFill>
                <a:effectLst/>
                <a:latin typeface="Arial" panose="020B0604020202020204" pitchFamily="34" charset="0"/>
                <a:ea typeface="Calibri" panose="020F0502020204030204" pitchFamily="34" charset="0"/>
                <a:cs typeface="Arial" panose="020B0604020202020204" pitchFamily="34" charset="0"/>
              </a:rPr>
              <a:t>eskrivelse av terreng og overflate over og under vann </a:t>
            </a:r>
          </a:p>
          <a:p>
            <a:r>
              <a:rPr lang="nb-NO" sz="2200" dirty="0">
                <a:solidFill>
                  <a:srgbClr val="1E3145"/>
                </a:solidFill>
                <a:effectLst/>
                <a:latin typeface="Arial" panose="020B0604020202020204" pitchFamily="34" charset="0"/>
                <a:ea typeface="Calibri" panose="020F0502020204030204" pitchFamily="34" charset="0"/>
                <a:cs typeface="Arial" panose="020B0604020202020204" pitchFamily="34" charset="0"/>
              </a:rPr>
              <a:t>Høydedata gir en detaljert beskrivelse av terreng og overflate over vann (topografi), og dybdedata gir tilsvarende under vann (batymetri). Terrenget blir beskrevet med punkter på XYZ-format (koordinater og høyder).</a:t>
            </a:r>
          </a:p>
        </p:txBody>
      </p:sp>
      <p:sp>
        <p:nvSpPr>
          <p:cNvPr id="3" name="Tittel 2">
            <a:extLst>
              <a:ext uri="{FF2B5EF4-FFF2-40B4-BE49-F238E27FC236}">
                <a16:creationId xmlns:a16="http://schemas.microsoft.com/office/drawing/2014/main" id="{676DA4D8-454D-E8FE-EEA8-50844ABEF9E5}"/>
              </a:ext>
            </a:extLst>
          </p:cNvPr>
          <p:cNvSpPr>
            <a:spLocks noGrp="1"/>
          </p:cNvSpPr>
          <p:nvPr>
            <p:ph type="title"/>
          </p:nvPr>
        </p:nvSpPr>
        <p:spPr/>
        <p:txBody>
          <a:bodyPr/>
          <a:lstStyle/>
          <a:p>
            <a:r>
              <a:rPr lang="nb-NO" b="1"/>
              <a:t>Høyde- og dybdedata</a:t>
            </a:r>
          </a:p>
        </p:txBody>
      </p:sp>
      <p:pic>
        <p:nvPicPr>
          <p:cNvPr id="4" name="Bilde 3" descr="Forhåndsvisning av bilde">
            <a:extLst>
              <a:ext uri="{FF2B5EF4-FFF2-40B4-BE49-F238E27FC236}">
                <a16:creationId xmlns:a16="http://schemas.microsoft.com/office/drawing/2014/main" id="{394C8262-63D4-B618-BC70-27B29EABFE7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773673" y="387458"/>
            <a:ext cx="9038579" cy="8632556"/>
          </a:xfrm>
          <a:prstGeom prst="rect">
            <a:avLst/>
          </a:prstGeom>
          <a:noFill/>
          <a:ln>
            <a:solidFill>
              <a:schemeClr val="bg1">
                <a:lumMod val="65000"/>
              </a:schemeClr>
            </a:solidFill>
          </a:ln>
        </p:spPr>
      </p:pic>
    </p:spTree>
    <p:extLst>
      <p:ext uri="{BB962C8B-B14F-4D97-AF65-F5344CB8AC3E}">
        <p14:creationId xmlns:p14="http://schemas.microsoft.com/office/powerpoint/2010/main" val="30329274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E2DF20D8-9211-2571-15F6-1662E7D6F331}"/>
              </a:ext>
            </a:extLst>
          </p:cNvPr>
          <p:cNvPicPr>
            <a:picLocks noChangeAspect="1"/>
          </p:cNvPicPr>
          <p:nvPr/>
        </p:nvPicPr>
        <p:blipFill rotWithShape="1">
          <a:blip r:embed="rId2"/>
          <a:srcRect b="19"/>
          <a:stretch/>
        </p:blipFill>
        <p:spPr>
          <a:xfrm>
            <a:off x="26" y="2156"/>
            <a:ext cx="16254386" cy="9141398"/>
          </a:xfrm>
          <a:prstGeom prst="rect">
            <a:avLst/>
          </a:prstGeom>
        </p:spPr>
      </p:pic>
      <p:sp>
        <p:nvSpPr>
          <p:cNvPr id="2" name="Rektangel 1">
            <a:extLst>
              <a:ext uri="{FF2B5EF4-FFF2-40B4-BE49-F238E27FC236}">
                <a16:creationId xmlns:a16="http://schemas.microsoft.com/office/drawing/2014/main" id="{5D12DCAE-832C-9C23-B493-D5A44EC6416B}"/>
              </a:ext>
            </a:extLst>
          </p:cNvPr>
          <p:cNvSpPr/>
          <p:nvPr/>
        </p:nvSpPr>
        <p:spPr>
          <a:xfrm>
            <a:off x="4640239" y="2101755"/>
            <a:ext cx="6741994" cy="1787857"/>
          </a:xfrm>
          <a:prstGeom prst="rect">
            <a:avLst/>
          </a:prstGeom>
          <a:solidFill>
            <a:srgbClr val="E5AA20"/>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nb-NO" sz="9600" dirty="0">
                <a:solidFill>
                  <a:schemeClr val="tx1"/>
                </a:solidFill>
                <a:latin typeface="Arial" panose="020B0604020202020204" pitchFamily="34" charset="0"/>
                <a:cs typeface="Arial" panose="020B0604020202020204" pitchFamily="34" charset="0"/>
              </a:rPr>
              <a:t>Bakgrunn</a:t>
            </a:r>
          </a:p>
        </p:txBody>
      </p:sp>
    </p:spTree>
    <p:extLst>
      <p:ext uri="{BB962C8B-B14F-4D97-AF65-F5344CB8AC3E}">
        <p14:creationId xmlns:p14="http://schemas.microsoft.com/office/powerpoint/2010/main" val="6369075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91140DE-5FC6-8156-3029-492A1B64E5BD}"/>
            </a:ext>
          </a:extLst>
        </p:cNvPr>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518507DF-3E26-3BD7-8585-79F2FDD9C34A}"/>
              </a:ext>
            </a:extLst>
          </p:cNvPr>
          <p:cNvSpPr>
            <a:spLocks noGrp="1"/>
          </p:cNvSpPr>
          <p:nvPr>
            <p:ph idx="1"/>
          </p:nvPr>
        </p:nvSpPr>
        <p:spPr>
          <a:xfrm>
            <a:off x="304799" y="1569720"/>
            <a:ext cx="14673943" cy="6965078"/>
          </a:xfrm>
        </p:spPr>
        <p:txBody>
          <a:bodyPr>
            <a:noAutofit/>
          </a:bodyPr>
          <a:lstStyle/>
          <a:p>
            <a:r>
              <a:rPr lang="nb-NO" sz="2200" dirty="0">
                <a:solidFill>
                  <a:srgbClr val="1E3145"/>
                </a:solidFill>
                <a:latin typeface="Arial" panose="020B0604020202020204" pitchFamily="34" charset="0"/>
                <a:ea typeface="Calibri" panose="020F0502020204030204" pitchFamily="34" charset="0"/>
                <a:cs typeface="Arial" panose="020B0604020202020204" pitchFamily="34" charset="0"/>
              </a:rPr>
              <a:t>Utgangspunkt AA-registeret</a:t>
            </a:r>
          </a:p>
          <a:p>
            <a:pPr lvl="1"/>
            <a:r>
              <a:rPr lang="nb-NO" sz="2200" dirty="0">
                <a:solidFill>
                  <a:srgbClr val="1E3145"/>
                </a:solidFill>
                <a:effectLst/>
                <a:latin typeface="Arial" panose="020B0604020202020204" pitchFamily="34" charset="0"/>
                <a:ea typeface="Calibri" panose="020F0502020204030204" pitchFamily="34" charset="0"/>
                <a:cs typeface="Arial" panose="020B0604020202020204" pitchFamily="34" charset="0"/>
              </a:rPr>
              <a:t>Kombinasjonen av dataelementer som hentes ut i stor grad utgjør kandidat for nasjonale grunndata i testperioden, dvs. følgende dataelementer:</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Opplysningspliktig/hovedenhet (</a:t>
            </a:r>
            <a:r>
              <a:rPr lang="nb-NO" sz="2200" dirty="0" err="1">
                <a:solidFill>
                  <a:srgbClr val="1E3145"/>
                </a:solidFill>
                <a:effectLst/>
                <a:latin typeface="Arial" panose="020B0604020202020204" pitchFamily="34" charset="0"/>
                <a:ea typeface="Yu Mincho" panose="02020400000000000000" pitchFamily="18" charset="-128"/>
                <a:cs typeface="Arial" panose="020B0604020202020204" pitchFamily="34" charset="0"/>
              </a:rPr>
              <a:t>orgnr</a:t>
            </a: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Arbeidssted/underenhet (</a:t>
            </a:r>
            <a:r>
              <a:rPr lang="nb-NO" sz="2200" dirty="0" err="1">
                <a:solidFill>
                  <a:srgbClr val="1E3145"/>
                </a:solidFill>
                <a:effectLst/>
                <a:latin typeface="Arial" panose="020B0604020202020204" pitchFamily="34" charset="0"/>
                <a:ea typeface="Yu Mincho" panose="02020400000000000000" pitchFamily="18" charset="-128"/>
                <a:cs typeface="Arial" panose="020B0604020202020204" pitchFamily="34" charset="0"/>
              </a:rPr>
              <a:t>orgnr</a:t>
            </a: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Arbeidstaker/frilanser (</a:t>
            </a:r>
            <a:r>
              <a:rPr lang="nb-NO" sz="2200" dirty="0" err="1">
                <a:solidFill>
                  <a:srgbClr val="1E3145"/>
                </a:solidFill>
                <a:effectLst/>
                <a:latin typeface="Arial" panose="020B0604020202020204" pitchFamily="34" charset="0"/>
                <a:ea typeface="Yu Mincho" panose="02020400000000000000" pitchFamily="18" charset="-128"/>
                <a:cs typeface="Arial" panose="020B0604020202020204" pitchFamily="34" charset="0"/>
              </a:rPr>
              <a:t>fnr</a:t>
            </a: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a:t>
            </a:r>
            <a:r>
              <a:rPr lang="nb-NO" sz="2200" dirty="0" err="1">
                <a:solidFill>
                  <a:srgbClr val="1E3145"/>
                </a:solidFill>
                <a:effectLst/>
                <a:latin typeface="Arial" panose="020B0604020202020204" pitchFamily="34" charset="0"/>
                <a:ea typeface="Yu Mincho" panose="02020400000000000000" pitchFamily="18" charset="-128"/>
                <a:cs typeface="Arial" panose="020B0604020202020204" pitchFamily="34" charset="0"/>
              </a:rPr>
              <a:t>dnr</a:t>
            </a: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Type arbeidsforhold</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Ansettelsesperiode</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Ansettelsesform</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Yrkesbeskrivelse</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Stillingsprosent</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Antall timer en full stilling tilsvarer</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Permisjonsopplysninger</a:t>
            </a:r>
          </a:p>
          <a:p>
            <a:pPr marL="1041455" lvl="2" indent="-342900">
              <a:buFont typeface="Calibri" panose="020F0502020204030204" pitchFamily="34" charset="0"/>
              <a:buChar char="-"/>
            </a:pPr>
            <a:r>
              <a:rPr lang="nb-NO" sz="2200" dirty="0">
                <a:solidFill>
                  <a:srgbClr val="1E3145"/>
                </a:solidFill>
                <a:effectLst/>
                <a:latin typeface="Arial" panose="020B0604020202020204" pitchFamily="34" charset="0"/>
                <a:ea typeface="Yu Mincho" panose="02020400000000000000" pitchFamily="18" charset="-128"/>
                <a:cs typeface="Arial" panose="020B0604020202020204" pitchFamily="34" charset="0"/>
              </a:rPr>
              <a:t>Timer for timelønnet</a:t>
            </a:r>
          </a:p>
        </p:txBody>
      </p:sp>
      <p:sp>
        <p:nvSpPr>
          <p:cNvPr id="3" name="Tittel 2">
            <a:extLst>
              <a:ext uri="{FF2B5EF4-FFF2-40B4-BE49-F238E27FC236}">
                <a16:creationId xmlns:a16="http://schemas.microsoft.com/office/drawing/2014/main" id="{A7075E88-A831-CDC4-5632-7FF2533A452B}"/>
              </a:ext>
            </a:extLst>
          </p:cNvPr>
          <p:cNvSpPr>
            <a:spLocks noGrp="1"/>
          </p:cNvSpPr>
          <p:nvPr>
            <p:ph type="title"/>
          </p:nvPr>
        </p:nvSpPr>
        <p:spPr>
          <a:xfrm>
            <a:off x="3686176" y="609202"/>
            <a:ext cx="5978524" cy="692497"/>
          </a:xfrm>
        </p:spPr>
        <p:txBody>
          <a:bodyPr/>
          <a:lstStyle/>
          <a:p>
            <a:r>
              <a:rPr lang="nb-NO" b="1"/>
              <a:t>Arbeidsforholdsdata</a:t>
            </a:r>
          </a:p>
        </p:txBody>
      </p:sp>
    </p:spTree>
    <p:extLst>
      <p:ext uri="{BB962C8B-B14F-4D97-AF65-F5344CB8AC3E}">
        <p14:creationId xmlns:p14="http://schemas.microsoft.com/office/powerpoint/2010/main" val="36155125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64142-3462-E460-35C3-226D0AB073F5}"/>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63E192F-A8F6-0F42-E351-112CA8909EFD}"/>
              </a:ext>
            </a:extLst>
          </p:cNvPr>
          <p:cNvSpPr/>
          <p:nvPr/>
        </p:nvSpPr>
        <p:spPr>
          <a:xfrm>
            <a:off x="-1" y="447"/>
            <a:ext cx="16254413" cy="9143107"/>
          </a:xfrm>
          <a:prstGeom prst="rect">
            <a:avLst/>
          </a:prstGeom>
          <a:solidFill>
            <a:srgbClr val="E5A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149949" rtl="0" eaLnBrk="1" fontAlgn="auto" latinLnBrk="0" hangingPunct="1">
              <a:lnSpc>
                <a:spcPct val="100000"/>
              </a:lnSpc>
              <a:spcBef>
                <a:spcPts val="0"/>
              </a:spcBef>
              <a:spcAft>
                <a:spcPts val="0"/>
              </a:spcAft>
              <a:buClrTx/>
              <a:buSzTx/>
              <a:buFontTx/>
              <a:buNone/>
              <a:tabLst/>
              <a:defRPr/>
            </a:pPr>
            <a:endParaRPr kumimoji="0" lang="nb-NO" sz="301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51A800FD-576E-CD41-5DB6-0713204A751B}"/>
              </a:ext>
            </a:extLst>
          </p:cNvPr>
          <p:cNvSpPr>
            <a:spLocks noGrp="1"/>
          </p:cNvSpPr>
          <p:nvPr>
            <p:ph type="title"/>
          </p:nvPr>
        </p:nvSpPr>
        <p:spPr>
          <a:xfrm>
            <a:off x="2210075" y="4105835"/>
            <a:ext cx="11834259" cy="932329"/>
          </a:xfrm>
        </p:spPr>
        <p:txBody>
          <a:bodyPr>
            <a:noAutofit/>
          </a:bodyPr>
          <a:lstStyle/>
          <a:p>
            <a:pPr algn="ctr"/>
            <a:r>
              <a:rPr lang="nb-NO" sz="5400" dirty="0"/>
              <a:t>Del 1:</a:t>
            </a:r>
            <a:r>
              <a:rPr lang="nb-NO" sz="5400" dirty="0">
                <a:effectLst/>
                <a:ea typeface="Times New Roman" panose="02020603050405020304" pitchFamily="18" charset="0"/>
                <a:cs typeface="Times New Roman" panose="02020603050405020304" pitchFamily="18" charset="0"/>
              </a:rPr>
              <a:t>Organisering, roller og aktører</a:t>
            </a:r>
            <a:r>
              <a:rPr lang="nb-NO" sz="5400" dirty="0"/>
              <a:t> </a:t>
            </a:r>
          </a:p>
        </p:txBody>
      </p:sp>
    </p:spTree>
    <p:extLst>
      <p:ext uri="{BB962C8B-B14F-4D97-AF65-F5344CB8AC3E}">
        <p14:creationId xmlns:p14="http://schemas.microsoft.com/office/powerpoint/2010/main" val="32730093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Plassholder for innhold 2">
            <a:extLst>
              <a:ext uri="{FF2B5EF4-FFF2-40B4-BE49-F238E27FC236}">
                <a16:creationId xmlns:a16="http://schemas.microsoft.com/office/drawing/2014/main" id="{9819D6F8-37A0-5CA8-43C1-0C774C95CAF8}"/>
              </a:ext>
            </a:extLst>
          </p:cNvPr>
          <p:cNvGraphicFramePr>
            <a:graphicFrameLocks noGrp="1"/>
          </p:cNvGraphicFramePr>
          <p:nvPr>
            <p:ph idx="1"/>
          </p:nvPr>
        </p:nvGraphicFramePr>
        <p:xfrm>
          <a:off x="1117490" y="2434166"/>
          <a:ext cx="14579710" cy="59986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kstSylinder 3">
            <a:extLst>
              <a:ext uri="{FF2B5EF4-FFF2-40B4-BE49-F238E27FC236}">
                <a16:creationId xmlns:a16="http://schemas.microsoft.com/office/drawing/2014/main" id="{4DC63D1D-A3E0-4826-EBE3-8AB5F4B0F1C8}"/>
              </a:ext>
            </a:extLst>
          </p:cNvPr>
          <p:cNvSpPr txBox="1"/>
          <p:nvPr/>
        </p:nvSpPr>
        <p:spPr>
          <a:xfrm>
            <a:off x="8127206" y="6820233"/>
            <a:ext cx="7009715" cy="1477328"/>
          </a:xfrm>
          <a:prstGeom prst="rect">
            <a:avLst/>
          </a:prstGeom>
          <a:noFill/>
        </p:spPr>
        <p:txBody>
          <a:bodyPr wrap="square" rtlCol="0">
            <a:spAutoFit/>
          </a:bodyPr>
          <a:lstStyle/>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Kommunisere utviklingsbehov til domeneansvarlig grunndatakoordinator</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Delta aktivt i utviklingstiltak</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Imøtekomme krav til dataforvaltning, kvalitet og tilgjengelighet som skissert i avtaler</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Sikre at subdomenet følger prinsipper og prosesser som beskrevet i dette rammeverket</a:t>
            </a:r>
          </a:p>
        </p:txBody>
      </p:sp>
      <p:sp>
        <p:nvSpPr>
          <p:cNvPr id="6" name="TekstSylinder 5">
            <a:extLst>
              <a:ext uri="{FF2B5EF4-FFF2-40B4-BE49-F238E27FC236}">
                <a16:creationId xmlns:a16="http://schemas.microsoft.com/office/drawing/2014/main" id="{5C83DAF0-188C-63B0-E3E7-53C1FE044302}"/>
              </a:ext>
            </a:extLst>
          </p:cNvPr>
          <p:cNvSpPr txBox="1"/>
          <p:nvPr/>
        </p:nvSpPr>
        <p:spPr>
          <a:xfrm>
            <a:off x="8114615" y="4620470"/>
            <a:ext cx="7215187" cy="1477328"/>
          </a:xfrm>
          <a:prstGeom prst="rect">
            <a:avLst/>
          </a:prstGeom>
          <a:noFill/>
        </p:spPr>
        <p:txBody>
          <a:bodyPr wrap="square" rtlCol="0">
            <a:spAutoFit/>
          </a:bodyPr>
          <a:lstStyle/>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Domeneansvarlig sørger for god dataforvaltning i domenet ved å delegere ansvarsoppgaver knyttet til blant annet datakvalitet og tilgjengelighet</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Domeneansvarlig skal sørge for at det etableres «feedback loops» inn til aktuelle grunndataforvaltere</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Domeneansvarlig har ansvar for å organisere prosess(er) med involverte aktører for å dokumentere konsumentenes databehov og hensiktsmessige krav knyttet til dataene </a:t>
            </a:r>
            <a:endParaRPr kumimoji="0" lang="en-US" sz="15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
        <p:nvSpPr>
          <p:cNvPr id="7" name="TekstSylinder 6">
            <a:extLst>
              <a:ext uri="{FF2B5EF4-FFF2-40B4-BE49-F238E27FC236}">
                <a16:creationId xmlns:a16="http://schemas.microsoft.com/office/drawing/2014/main" id="{C86E008C-1A64-40C0-DCEF-3D28E2F8FD20}"/>
              </a:ext>
            </a:extLst>
          </p:cNvPr>
          <p:cNvSpPr txBox="1"/>
          <p:nvPr/>
        </p:nvSpPr>
        <p:spPr>
          <a:xfrm flipH="1">
            <a:off x="8125173" y="2713152"/>
            <a:ext cx="7397510" cy="1246495"/>
          </a:xfrm>
          <a:prstGeom prst="rect">
            <a:avLst/>
          </a:prstGeom>
          <a:noFill/>
        </p:spPr>
        <p:txBody>
          <a:bodyPr wrap="square" rtlCol="0">
            <a:spAutoFit/>
          </a:bodyPr>
          <a:lstStyle/>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Ansvarlig for rammeverket</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Ansvarlig for nasjonal grunndataoversikt</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Ansvarlig for å holde oversikt over og dokumentere behov for nasjonale grunndata i forvaltningen</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Ansvarlig for å koordinere og </a:t>
            </a:r>
            <a:r>
              <a:rPr kumimoji="0" lang="nb-NO" sz="1500" b="0" i="0" u="none" strike="noStrike" kern="1200" cap="none" spc="0" normalizeH="0" baseline="0" noProof="0" dirty="0" err="1">
                <a:ln>
                  <a:noFill/>
                </a:ln>
                <a:solidFill>
                  <a:srgbClr val="1E2B3C"/>
                </a:solidFill>
                <a:effectLst/>
                <a:uLnTx/>
                <a:uFillTx/>
                <a:latin typeface="Arial" panose="020B0604020202020204"/>
                <a:ea typeface="+mn-ea"/>
                <a:cs typeface="+mn-cs"/>
              </a:rPr>
              <a:t>fasilitere</a:t>
            </a: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 utviklingen av nasjonale grunndata</a:t>
            </a:r>
          </a:p>
        </p:txBody>
      </p:sp>
      <p:sp>
        <p:nvSpPr>
          <p:cNvPr id="9" name="Tittel 1">
            <a:extLst>
              <a:ext uri="{FF2B5EF4-FFF2-40B4-BE49-F238E27FC236}">
                <a16:creationId xmlns:a16="http://schemas.microsoft.com/office/drawing/2014/main" id="{EAC8A761-6F15-B79C-E2BD-DA2D96FEF463}"/>
              </a:ext>
            </a:extLst>
          </p:cNvPr>
          <p:cNvSpPr>
            <a:spLocks noGrp="1"/>
          </p:cNvSpPr>
          <p:nvPr>
            <p:ph type="title"/>
          </p:nvPr>
        </p:nvSpPr>
        <p:spPr>
          <a:xfrm>
            <a:off x="1117490" y="1277256"/>
            <a:ext cx="14019431" cy="570867"/>
          </a:xfrm>
        </p:spPr>
        <p:txBody>
          <a:bodyPr>
            <a:normAutofit/>
          </a:bodyPr>
          <a:lstStyle/>
          <a:p>
            <a:r>
              <a:rPr lang="nb-NO" b="1" dirty="0"/>
              <a:t>Utkast til roller i rammeverket etter utprøving i caser</a:t>
            </a:r>
          </a:p>
        </p:txBody>
      </p:sp>
      <p:sp>
        <p:nvSpPr>
          <p:cNvPr id="11" name="Rektangel: avrundede hjørner 10">
            <a:extLst>
              <a:ext uri="{FF2B5EF4-FFF2-40B4-BE49-F238E27FC236}">
                <a16:creationId xmlns:a16="http://schemas.microsoft.com/office/drawing/2014/main" id="{C4237591-1C6C-FCD1-04C3-EB4DA0D19099}"/>
              </a:ext>
            </a:extLst>
          </p:cNvPr>
          <p:cNvSpPr/>
          <p:nvPr/>
        </p:nvSpPr>
        <p:spPr>
          <a:xfrm>
            <a:off x="975908" y="4432547"/>
            <a:ext cx="14862874" cy="1968285"/>
          </a:xfrm>
          <a:prstGeom prst="roundRect">
            <a:avLst/>
          </a:prstGeom>
          <a:blipFill dpi="0" rotWithShape="1">
            <a:blip r:embed="rId8">
              <a:alphaModFix amt="52000"/>
            </a:blip>
            <a:srcRect/>
            <a:tile tx="0" ty="0" sx="100000" sy="100000" flip="none" algn="tl"/>
          </a:blip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ekstSylinder 1">
            <a:extLst>
              <a:ext uri="{FF2B5EF4-FFF2-40B4-BE49-F238E27FC236}">
                <a16:creationId xmlns:a16="http://schemas.microsoft.com/office/drawing/2014/main" id="{A908376A-A298-CC0A-B6BA-93C1A4B23F99}"/>
              </a:ext>
            </a:extLst>
          </p:cNvPr>
          <p:cNvSpPr txBox="1"/>
          <p:nvPr/>
        </p:nvSpPr>
        <p:spPr>
          <a:xfrm>
            <a:off x="513604" y="4288899"/>
            <a:ext cx="533095" cy="2531334"/>
          </a:xfrm>
          <a:prstGeom prst="rect">
            <a:avLst/>
          </a:prstGeom>
          <a:noFill/>
        </p:spPr>
        <p:txBody>
          <a:bodyPr vert="vert270" wrap="square" rtlCol="0">
            <a:spAutoFit/>
          </a:bodyPr>
          <a:lstStyle/>
          <a:p>
            <a:pPr algn="ctr"/>
            <a:r>
              <a:rPr lang="nb-NO" dirty="0"/>
              <a:t>Fremtidig rolle</a:t>
            </a:r>
          </a:p>
        </p:txBody>
      </p:sp>
    </p:spTree>
    <p:extLst>
      <p:ext uri="{BB962C8B-B14F-4D97-AF65-F5344CB8AC3E}">
        <p14:creationId xmlns:p14="http://schemas.microsoft.com/office/powerpoint/2010/main" val="31699858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Plassholder for innhold 2">
            <a:extLst>
              <a:ext uri="{FF2B5EF4-FFF2-40B4-BE49-F238E27FC236}">
                <a16:creationId xmlns:a16="http://schemas.microsoft.com/office/drawing/2014/main" id="{9819D6F8-37A0-5CA8-43C1-0C774C95CAF8}"/>
              </a:ext>
            </a:extLst>
          </p:cNvPr>
          <p:cNvGraphicFramePr>
            <a:graphicFrameLocks noGrp="1"/>
          </p:cNvGraphicFramePr>
          <p:nvPr>
            <p:ph idx="1"/>
          </p:nvPr>
        </p:nvGraphicFramePr>
        <p:xfrm>
          <a:off x="1117490" y="0"/>
          <a:ext cx="14579710" cy="59986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kstSylinder 6">
            <a:extLst>
              <a:ext uri="{FF2B5EF4-FFF2-40B4-BE49-F238E27FC236}">
                <a16:creationId xmlns:a16="http://schemas.microsoft.com/office/drawing/2014/main" id="{C86E008C-1A64-40C0-DCEF-3D28E2F8FD20}"/>
              </a:ext>
            </a:extLst>
          </p:cNvPr>
          <p:cNvSpPr txBox="1"/>
          <p:nvPr/>
        </p:nvSpPr>
        <p:spPr>
          <a:xfrm flipH="1">
            <a:off x="8127205" y="2376069"/>
            <a:ext cx="7397510" cy="1246495"/>
          </a:xfrm>
          <a:prstGeom prst="rect">
            <a:avLst/>
          </a:prstGeom>
          <a:noFill/>
        </p:spPr>
        <p:txBody>
          <a:bodyPr wrap="square" rtlCol="0">
            <a:spAutoFit/>
          </a:bodyPr>
          <a:lstStyle/>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a:ln>
                  <a:noFill/>
                </a:ln>
                <a:solidFill>
                  <a:srgbClr val="1E2B3C"/>
                </a:solidFill>
                <a:effectLst/>
                <a:uLnTx/>
                <a:uFillTx/>
                <a:latin typeface="Arial" panose="020B0604020202020204"/>
                <a:ea typeface="+mn-ea"/>
                <a:cs typeface="+mn-cs"/>
              </a:rPr>
              <a:t>Ansvarlig for rammeverket</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a:ln>
                  <a:noFill/>
                </a:ln>
                <a:solidFill>
                  <a:srgbClr val="1E2B3C"/>
                </a:solidFill>
                <a:effectLst/>
                <a:uLnTx/>
                <a:uFillTx/>
                <a:latin typeface="Arial" panose="020B0604020202020204"/>
                <a:ea typeface="+mn-ea"/>
                <a:cs typeface="+mn-cs"/>
              </a:rPr>
              <a:t>Ansvarlig for nasjonal grunndataoversikt</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a:ln>
                  <a:noFill/>
                </a:ln>
                <a:solidFill>
                  <a:srgbClr val="1E2B3C"/>
                </a:solidFill>
                <a:effectLst/>
                <a:uLnTx/>
                <a:uFillTx/>
                <a:latin typeface="Arial" panose="020B0604020202020204"/>
                <a:ea typeface="+mn-ea"/>
                <a:cs typeface="+mn-cs"/>
              </a:rPr>
              <a:t>Ansvarlig for å holde oversikt over og dokumentere behov for nasjonale grunndata i forvaltningen</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a:ln>
                  <a:noFill/>
                </a:ln>
                <a:solidFill>
                  <a:srgbClr val="1E2B3C"/>
                </a:solidFill>
                <a:effectLst/>
                <a:uLnTx/>
                <a:uFillTx/>
                <a:latin typeface="Arial" panose="020B0604020202020204"/>
                <a:ea typeface="+mn-ea"/>
                <a:cs typeface="+mn-cs"/>
              </a:rPr>
              <a:t>Ansvarlig for å koordinere og </a:t>
            </a:r>
            <a:r>
              <a:rPr kumimoji="0" lang="nb-NO" sz="1500" b="0" i="0" u="none" strike="noStrike" kern="1200" cap="none" spc="0" normalizeH="0" baseline="0" noProof="0" err="1">
                <a:ln>
                  <a:noFill/>
                </a:ln>
                <a:solidFill>
                  <a:srgbClr val="1E2B3C"/>
                </a:solidFill>
                <a:effectLst/>
                <a:uLnTx/>
                <a:uFillTx/>
                <a:latin typeface="Arial" panose="020B0604020202020204"/>
                <a:ea typeface="+mn-ea"/>
                <a:cs typeface="+mn-cs"/>
              </a:rPr>
              <a:t>fasilitere</a:t>
            </a:r>
            <a:r>
              <a:rPr kumimoji="0" lang="nb-NO" sz="1500" b="0" i="0" u="none" strike="noStrike" kern="1200" cap="none" spc="0" normalizeH="0" baseline="0" noProof="0">
                <a:ln>
                  <a:noFill/>
                </a:ln>
                <a:solidFill>
                  <a:srgbClr val="1E2B3C"/>
                </a:solidFill>
                <a:effectLst/>
                <a:uLnTx/>
                <a:uFillTx/>
                <a:latin typeface="Arial" panose="020B0604020202020204"/>
                <a:ea typeface="+mn-ea"/>
                <a:cs typeface="+mn-cs"/>
              </a:rPr>
              <a:t> utviklingen av nasjonale grunndata</a:t>
            </a:r>
          </a:p>
        </p:txBody>
      </p:sp>
      <p:sp>
        <p:nvSpPr>
          <p:cNvPr id="9" name="Tittel 1">
            <a:extLst>
              <a:ext uri="{FF2B5EF4-FFF2-40B4-BE49-F238E27FC236}">
                <a16:creationId xmlns:a16="http://schemas.microsoft.com/office/drawing/2014/main" id="{EAC8A761-6F15-B79C-E2BD-DA2D96FEF463}"/>
              </a:ext>
            </a:extLst>
          </p:cNvPr>
          <p:cNvSpPr>
            <a:spLocks noGrp="1"/>
          </p:cNvSpPr>
          <p:nvPr>
            <p:ph type="title"/>
          </p:nvPr>
        </p:nvSpPr>
        <p:spPr>
          <a:xfrm>
            <a:off x="1117490" y="1277256"/>
            <a:ext cx="14019431" cy="570867"/>
          </a:xfrm>
        </p:spPr>
        <p:txBody>
          <a:bodyPr>
            <a:normAutofit/>
          </a:bodyPr>
          <a:lstStyle/>
          <a:p>
            <a:r>
              <a:rPr lang="nb-NO" b="1" dirty="0"/>
              <a:t>Utkast oppdaterte roller/ansvar etter utprøving i caser</a:t>
            </a:r>
          </a:p>
        </p:txBody>
      </p:sp>
      <p:sp>
        <p:nvSpPr>
          <p:cNvPr id="4" name="TekstSylinder 3">
            <a:extLst>
              <a:ext uri="{FF2B5EF4-FFF2-40B4-BE49-F238E27FC236}">
                <a16:creationId xmlns:a16="http://schemas.microsoft.com/office/drawing/2014/main" id="{8186053F-CB17-30C2-33AD-3F36F32A14BB}"/>
              </a:ext>
            </a:extLst>
          </p:cNvPr>
          <p:cNvSpPr txBox="1"/>
          <p:nvPr/>
        </p:nvSpPr>
        <p:spPr>
          <a:xfrm>
            <a:off x="1117490" y="3990602"/>
            <a:ext cx="14579710" cy="5153398"/>
          </a:xfrm>
          <a:prstGeom prst="rect">
            <a:avLst/>
          </a:prstGeom>
          <a:noFill/>
        </p:spPr>
        <p:txBody>
          <a:bodyPr wrap="square">
            <a:spAutoFit/>
          </a:bodyPr>
          <a:lstStyle/>
          <a:p>
            <a:pPr marL="228600" lvl="0" indent="-228600">
              <a:lnSpc>
                <a:spcPct val="107000"/>
              </a:lnSpc>
              <a:buFont typeface="+mj-lt"/>
              <a:buAutoNum type="arabicPeriod"/>
            </a:pPr>
            <a:r>
              <a:rPr lang="nb-NO" sz="1400" i="1" dirty="0">
                <a:effectLst/>
                <a:latin typeface="Calibri" panose="020F0502020204030204" pitchFamily="34" charset="0"/>
                <a:ea typeface="Yu Mincho" panose="02020400000000000000" pitchFamily="18" charset="-128"/>
                <a:cs typeface="Arial" panose="020B0604020202020204" pitchFamily="34" charset="0"/>
              </a:rPr>
              <a:t>     Ansvarlig for rammeverket:</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Eier rammeverket, og utvikler og justerer det etter behov. Dette gjelder bl.a. prinsipper og kriterier for nasjonale grunndata, prosesser, rollefordeling og avtalemaler.</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Fanger opp, og – der det er hensiktsmessig – inkorporerer krav fra kommende EU-regelverk.</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Sørger for at rammeverket er lett å forstå for alle involverte.</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914400">
              <a:lnSpc>
                <a:spcPct val="107000"/>
              </a:lnSpc>
            </a:pPr>
            <a:r>
              <a:rPr lang="nb-NO" sz="1400" dirty="0">
                <a:effectLst/>
                <a:latin typeface="Calibri" panose="020F0502020204030204" pitchFamily="34" charset="0"/>
                <a:ea typeface="Yu Mincho" panose="02020400000000000000" pitchFamily="18" charset="-128"/>
                <a:cs typeface="Arial" panose="020B0604020202020204" pitchFamily="34" charset="0"/>
              </a:rPr>
              <a:t> </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228600" indent="-228600">
              <a:lnSpc>
                <a:spcPct val="107000"/>
              </a:lnSpc>
              <a:buFont typeface="+mj-lt"/>
              <a:buAutoNum type="arabicPeriod" startAt="2"/>
            </a:pPr>
            <a:r>
              <a:rPr lang="nb-NO" sz="1400" i="1" dirty="0">
                <a:effectLst/>
                <a:latin typeface="Calibri" panose="020F0502020204030204" pitchFamily="34" charset="0"/>
                <a:ea typeface="Yu Mincho" panose="02020400000000000000" pitchFamily="18" charset="-128"/>
                <a:cs typeface="Arial" panose="020B0604020202020204" pitchFamily="34" charset="0"/>
              </a:rPr>
              <a:t>     Ansvarlig for nasjonal grunndataoversikt:</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Utvikle og etablere grunndataoversikten med utgangspunkt i dagens fellesløsninger.</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Sørge for å ha løpende oversikt over alle data som har blitt etablert som nasjonale grunndata, samt kandidater til vurdering. </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Sørge for at oversikten er et kommuniserende verktøy som tydelig viser</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1143000" lvl="2" indent="-228600">
              <a:lnSpc>
                <a:spcPct val="107000"/>
              </a:lnSpc>
              <a:buFont typeface="Wingdings" panose="05000000000000000000" pitchFamily="2"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logiske sammenhenger og mulige koblinger mellom grunndata og domener (på sikt) </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1143000" lvl="2" indent="-228600">
              <a:lnSpc>
                <a:spcPct val="107000"/>
              </a:lnSpc>
              <a:buFont typeface="Wingdings" panose="05000000000000000000" pitchFamily="2"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synliggjør overlapp i data</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1143000" lvl="2" indent="-228600">
              <a:lnSpc>
                <a:spcPct val="107000"/>
              </a:lnSpc>
              <a:buFont typeface="Wingdings" panose="05000000000000000000" pitchFamily="2"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synliggjør manglende data</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1143000" lvl="2" indent="-228600">
              <a:lnSpc>
                <a:spcPct val="107000"/>
              </a:lnSpc>
              <a:buFont typeface="Wingdings" panose="05000000000000000000" pitchFamily="2"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tydeliggjør ansvar og manglende ansvar for data</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1143000" lvl="2" indent="-228600">
              <a:lnSpc>
                <a:spcPct val="107000"/>
              </a:lnSpc>
              <a:buFont typeface="Wingdings" panose="05000000000000000000" pitchFamily="2"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identifiserer behov for begrepsavklaringer</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1371600">
              <a:lnSpc>
                <a:spcPct val="107000"/>
              </a:lnSpc>
            </a:pPr>
            <a:r>
              <a:rPr lang="nb-NO" sz="1400" dirty="0">
                <a:effectLst/>
                <a:latin typeface="Calibri" panose="020F0502020204030204" pitchFamily="34" charset="0"/>
                <a:ea typeface="Yu Mincho" panose="02020400000000000000" pitchFamily="18" charset="-128"/>
                <a:cs typeface="Arial" panose="020B0604020202020204" pitchFamily="34" charset="0"/>
              </a:rPr>
              <a:t> </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228600" lvl="0" indent="-228600">
              <a:lnSpc>
                <a:spcPct val="107000"/>
              </a:lnSpc>
              <a:buFont typeface="+mj-lt"/>
              <a:buAutoNum type="arabicPeriod" startAt="3"/>
            </a:pPr>
            <a:r>
              <a:rPr lang="nb-NO" sz="1400" i="1" dirty="0">
                <a:effectLst/>
                <a:latin typeface="Calibri" panose="020F0502020204030204" pitchFamily="34" charset="0"/>
                <a:ea typeface="Yu Mincho" panose="02020400000000000000" pitchFamily="18" charset="-128"/>
                <a:cs typeface="Arial" panose="020B0604020202020204" pitchFamily="34" charset="0"/>
              </a:rPr>
              <a:t>     Ansvarlig for å holde oversikt over og dokumentere behov for Nasjonale grunndata i forvaltningen:</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Vedlikeholde liste over behov, enten innmeldte eller identifisert av grunndatakoordinatoren selv ved hjelp av grunndataoversikten.</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400" dirty="0" err="1">
                <a:effectLst/>
                <a:latin typeface="Calibri" panose="020F0502020204030204" pitchFamily="34" charset="0"/>
                <a:ea typeface="Yu Mincho" panose="02020400000000000000" pitchFamily="18" charset="-128"/>
                <a:cs typeface="Arial" panose="020B0604020202020204" pitchFamily="34" charset="0"/>
              </a:rPr>
              <a:t>Fasilitere</a:t>
            </a:r>
            <a:r>
              <a:rPr lang="nb-NO" sz="1400" dirty="0">
                <a:effectLst/>
                <a:latin typeface="Calibri" panose="020F0502020204030204" pitchFamily="34" charset="0"/>
                <a:ea typeface="Yu Mincho" panose="02020400000000000000" pitchFamily="18" charset="-128"/>
                <a:cs typeface="Arial" panose="020B0604020202020204" pitchFamily="34" charset="0"/>
              </a:rPr>
              <a:t> dokumentering av effekt og samfunnsgevinst som følge av bruk av grunndata.</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buFont typeface="Symbol" panose="05050102010706020507" pitchFamily="18"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Drive fram forståelse av verdien av Nasjonale grunndata og gevinster ved å ha en helhetlig utvikling av Nasjonale grunndata</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914400">
              <a:lnSpc>
                <a:spcPct val="107000"/>
              </a:lnSpc>
            </a:pPr>
            <a:r>
              <a:rPr lang="nb-NO" sz="1400" dirty="0">
                <a:effectLst/>
                <a:latin typeface="Calibri" panose="020F0502020204030204" pitchFamily="34" charset="0"/>
                <a:ea typeface="Yu Mincho" panose="02020400000000000000" pitchFamily="18" charset="-128"/>
                <a:cs typeface="Arial" panose="020B0604020202020204" pitchFamily="34" charset="0"/>
              </a:rPr>
              <a:t> </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228600" lvl="0" indent="-228600">
              <a:lnSpc>
                <a:spcPct val="107000"/>
              </a:lnSpc>
              <a:buFont typeface="+mj-lt"/>
              <a:buAutoNum type="arabicPeriod" startAt="4"/>
            </a:pPr>
            <a:r>
              <a:rPr lang="nb-NO" sz="1400" i="1" dirty="0">
                <a:effectLst/>
                <a:latin typeface="Calibri" panose="020F0502020204030204" pitchFamily="34" charset="0"/>
                <a:ea typeface="Yu Mincho" panose="02020400000000000000" pitchFamily="18" charset="-128"/>
                <a:cs typeface="Arial" panose="020B0604020202020204" pitchFamily="34" charset="0"/>
              </a:rPr>
              <a:t>     Ansvarlig for å koordinere og </a:t>
            </a:r>
            <a:r>
              <a:rPr lang="nb-NO" sz="1400" i="1" dirty="0" err="1">
                <a:effectLst/>
                <a:latin typeface="Calibri" panose="020F0502020204030204" pitchFamily="34" charset="0"/>
                <a:ea typeface="Yu Mincho" panose="02020400000000000000" pitchFamily="18" charset="-128"/>
                <a:cs typeface="Arial" panose="020B0604020202020204" pitchFamily="34" charset="0"/>
              </a:rPr>
              <a:t>fasilitere</a:t>
            </a:r>
            <a:r>
              <a:rPr lang="nb-NO" sz="1400" i="1" dirty="0">
                <a:effectLst/>
                <a:latin typeface="Calibri" panose="020F0502020204030204" pitchFamily="34" charset="0"/>
                <a:ea typeface="Yu Mincho" panose="02020400000000000000" pitchFamily="18" charset="-128"/>
                <a:cs typeface="Arial" panose="020B0604020202020204" pitchFamily="34" charset="0"/>
              </a:rPr>
              <a:t> utviklingen av Nasjonale grunndata:</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lnSpc>
                <a:spcPct val="107000"/>
              </a:lnSpc>
              <a:spcAft>
                <a:spcPts val="800"/>
              </a:spcAft>
              <a:buFont typeface="Symbol" panose="05050102010706020507" pitchFamily="18" charset="2"/>
              <a:buChar char=""/>
            </a:pPr>
            <a:r>
              <a:rPr lang="nb-NO" sz="1400" dirty="0">
                <a:effectLst/>
                <a:latin typeface="Calibri" panose="020F0502020204030204" pitchFamily="34" charset="0"/>
                <a:ea typeface="Yu Mincho" panose="02020400000000000000" pitchFamily="18" charset="-128"/>
                <a:cs typeface="Arial" panose="020B0604020202020204" pitchFamily="34" charset="0"/>
              </a:rPr>
              <a:t>Koordinere arbeidet med å omsette behov til handling og utviklingstiltak. I dette ligger å se sammenhenger, knytte sammen relevante aktører og forankre behov for innsats. </a:t>
            </a:r>
            <a:endParaRPr lang="nb-NO" sz="1100" dirty="0">
              <a:effectLst/>
              <a:latin typeface="Calibri" panose="020F0502020204030204" pitchFamily="34" charset="0"/>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14832565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Plassholder for innhold 2">
            <a:extLst>
              <a:ext uri="{FF2B5EF4-FFF2-40B4-BE49-F238E27FC236}">
                <a16:creationId xmlns:a16="http://schemas.microsoft.com/office/drawing/2014/main" id="{9819D6F8-37A0-5CA8-43C1-0C774C95CAF8}"/>
              </a:ext>
            </a:extLst>
          </p:cNvPr>
          <p:cNvGraphicFramePr>
            <a:graphicFrameLocks noGrp="1"/>
          </p:cNvGraphicFramePr>
          <p:nvPr>
            <p:ph idx="1"/>
          </p:nvPr>
        </p:nvGraphicFramePr>
        <p:xfrm>
          <a:off x="1117490" y="0"/>
          <a:ext cx="14579710" cy="59986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kstSylinder 3">
            <a:extLst>
              <a:ext uri="{FF2B5EF4-FFF2-40B4-BE49-F238E27FC236}">
                <a16:creationId xmlns:a16="http://schemas.microsoft.com/office/drawing/2014/main" id="{4DC63D1D-A3E0-4826-EBE3-8AB5F4B0F1C8}"/>
              </a:ext>
            </a:extLst>
          </p:cNvPr>
          <p:cNvSpPr txBox="1"/>
          <p:nvPr/>
        </p:nvSpPr>
        <p:spPr>
          <a:xfrm>
            <a:off x="7952108" y="2260653"/>
            <a:ext cx="7576067" cy="1477328"/>
          </a:xfrm>
          <a:prstGeom prst="rect">
            <a:avLst/>
          </a:prstGeom>
          <a:noFill/>
        </p:spPr>
        <p:txBody>
          <a:bodyPr wrap="square" rtlCol="0">
            <a:spAutoFit/>
          </a:bodyPr>
          <a:lstStyle/>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Kommunisere utviklingsbehov til styrende organ(?) via grunndatakoordinatoren (senere evt. domeneansvarlig) </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Delta aktivt i utviklingstiltak</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Sikre at grunndataforvaltningen følger prinsipper og prosesser som beskrevet i dette rammeverket</a:t>
            </a:r>
          </a:p>
          <a:p>
            <a:pPr marL="285750" marR="0" lvl="0" indent="-28575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500" b="0" i="0" u="none" strike="noStrike" kern="1200" cap="none" spc="0" normalizeH="0" baseline="0" noProof="0" dirty="0">
                <a:ln>
                  <a:noFill/>
                </a:ln>
                <a:solidFill>
                  <a:srgbClr val="1E2B3C"/>
                </a:solidFill>
                <a:effectLst/>
                <a:uLnTx/>
                <a:uFillTx/>
                <a:latin typeface="Arial" panose="020B0604020202020204"/>
                <a:ea typeface="+mn-ea"/>
                <a:cs typeface="+mn-cs"/>
              </a:rPr>
              <a:t>Imøtekomme krav til dataforvaltning, kvalitet og tilgjengelighet i eventuelle avtaler</a:t>
            </a:r>
          </a:p>
        </p:txBody>
      </p:sp>
      <p:sp>
        <p:nvSpPr>
          <p:cNvPr id="7" name="Tittel 1">
            <a:extLst>
              <a:ext uri="{FF2B5EF4-FFF2-40B4-BE49-F238E27FC236}">
                <a16:creationId xmlns:a16="http://schemas.microsoft.com/office/drawing/2014/main" id="{7B44D65E-0D31-9C21-2A36-DDF208D479AC}"/>
              </a:ext>
            </a:extLst>
          </p:cNvPr>
          <p:cNvSpPr>
            <a:spLocks noGrp="1"/>
          </p:cNvSpPr>
          <p:nvPr>
            <p:ph type="title"/>
          </p:nvPr>
        </p:nvSpPr>
        <p:spPr>
          <a:xfrm>
            <a:off x="1117490" y="1277256"/>
            <a:ext cx="14019431" cy="570867"/>
          </a:xfrm>
        </p:spPr>
        <p:txBody>
          <a:bodyPr>
            <a:normAutofit/>
          </a:bodyPr>
          <a:lstStyle/>
          <a:p>
            <a:r>
              <a:rPr lang="nb-NO" b="1" dirty="0"/>
              <a:t>Utkast oppdaterte roller/ansvar etter utprøving i caser</a:t>
            </a:r>
          </a:p>
        </p:txBody>
      </p:sp>
      <p:sp>
        <p:nvSpPr>
          <p:cNvPr id="6" name="TekstSylinder 5">
            <a:extLst>
              <a:ext uri="{FF2B5EF4-FFF2-40B4-BE49-F238E27FC236}">
                <a16:creationId xmlns:a16="http://schemas.microsoft.com/office/drawing/2014/main" id="{D4A84EB1-AAE3-A6C3-25AB-441AE90F0471}"/>
              </a:ext>
            </a:extLst>
          </p:cNvPr>
          <p:cNvSpPr txBox="1"/>
          <p:nvPr/>
        </p:nvSpPr>
        <p:spPr>
          <a:xfrm>
            <a:off x="1117489" y="4572000"/>
            <a:ext cx="14579709" cy="2191049"/>
          </a:xfrm>
          <a:prstGeom prst="rect">
            <a:avLst/>
          </a:prstGeom>
          <a:noFill/>
        </p:spPr>
        <p:txBody>
          <a:bodyPr wrap="square">
            <a:spAutoFit/>
          </a:bodyPr>
          <a:lstStyle/>
          <a:p>
            <a:pPr marL="342900" lvl="0" indent="-342900">
              <a:lnSpc>
                <a:spcPct val="115000"/>
              </a:lnSpc>
              <a:buFont typeface="+mj-lt"/>
              <a:buAutoNum type="arabicPeriod"/>
            </a:pPr>
            <a:r>
              <a:rPr lang="nb-NO" sz="2400" dirty="0">
                <a:effectLst/>
                <a:latin typeface="Calibri" panose="020F0502020204030204" pitchFamily="34" charset="0"/>
                <a:ea typeface="Yu Gothic Light" panose="020B0300000000000000" pitchFamily="34" charset="-128"/>
                <a:cs typeface="Arial" panose="020B0604020202020204" pitchFamily="34" charset="0"/>
              </a:rPr>
              <a:t>Imøtekomme krav til dataforvaltning, kvalitet og tilgjengelighet</a:t>
            </a:r>
            <a:endParaRPr lang="nb-NO" sz="1800" dirty="0">
              <a:effectLst/>
              <a:latin typeface="Calibri" panose="020F0502020204030204" pitchFamily="34" charset="0"/>
              <a:ea typeface="Yu Mincho" panose="02020400000000000000" pitchFamily="18" charset="-128"/>
              <a:cs typeface="Arial" panose="020B0604020202020204" pitchFamily="34" charset="0"/>
            </a:endParaRPr>
          </a:p>
          <a:p>
            <a:pPr marL="342900" lvl="0" indent="-342900">
              <a:lnSpc>
                <a:spcPct val="115000"/>
              </a:lnSpc>
              <a:buFont typeface="+mj-lt"/>
              <a:buAutoNum type="arabicPeriod"/>
            </a:pPr>
            <a:r>
              <a:rPr lang="nb-NO" sz="2400" dirty="0">
                <a:effectLst/>
                <a:latin typeface="Calibri" panose="020F0502020204030204" pitchFamily="34" charset="0"/>
                <a:ea typeface="Yu Gothic Light" panose="020B0300000000000000" pitchFamily="34" charset="-128"/>
                <a:cs typeface="Arial" panose="020B0604020202020204" pitchFamily="34" charset="0"/>
              </a:rPr>
              <a:t>Sikre at forvaltningen av data følger prinsipper og prosesser som beskrevet i rammeverket</a:t>
            </a:r>
            <a:endParaRPr lang="nb-NO" sz="1800" dirty="0">
              <a:effectLst/>
              <a:latin typeface="Calibri" panose="020F0502020204030204" pitchFamily="34" charset="0"/>
              <a:ea typeface="Yu Mincho" panose="02020400000000000000" pitchFamily="18" charset="-128"/>
              <a:cs typeface="Arial" panose="020B0604020202020204" pitchFamily="34" charset="0"/>
            </a:endParaRPr>
          </a:p>
          <a:p>
            <a:pPr marL="342900" lvl="0" indent="-342900">
              <a:lnSpc>
                <a:spcPct val="115000"/>
              </a:lnSpc>
              <a:buFont typeface="+mj-lt"/>
              <a:buAutoNum type="arabicPeriod"/>
            </a:pPr>
            <a:r>
              <a:rPr lang="nb-NO" sz="2400" dirty="0">
                <a:effectLst/>
                <a:latin typeface="Calibri" panose="020F0502020204030204" pitchFamily="34" charset="0"/>
                <a:ea typeface="Yu Gothic Light" panose="020B0300000000000000" pitchFamily="34" charset="-128"/>
                <a:cs typeface="Arial" panose="020B0604020202020204" pitchFamily="34" charset="0"/>
              </a:rPr>
              <a:t>Kontinuerlig identifisere konsumenters behov</a:t>
            </a:r>
            <a:endParaRPr lang="nb-NO" sz="1800" dirty="0">
              <a:effectLst/>
              <a:latin typeface="Calibri" panose="020F0502020204030204" pitchFamily="34" charset="0"/>
              <a:ea typeface="Yu Mincho" panose="02020400000000000000" pitchFamily="18" charset="-128"/>
              <a:cs typeface="Arial" panose="020B0604020202020204" pitchFamily="34" charset="0"/>
            </a:endParaRPr>
          </a:p>
          <a:p>
            <a:pPr marL="342900" lvl="0" indent="-342900">
              <a:lnSpc>
                <a:spcPct val="115000"/>
              </a:lnSpc>
              <a:buFont typeface="+mj-lt"/>
              <a:buAutoNum type="arabicPeriod"/>
            </a:pPr>
            <a:r>
              <a:rPr lang="nb-NO" sz="2400" dirty="0">
                <a:effectLst/>
                <a:latin typeface="Calibri" panose="020F0502020204030204" pitchFamily="34" charset="0"/>
                <a:ea typeface="Yu Gothic Light" panose="020B0300000000000000" pitchFamily="34" charset="-128"/>
                <a:cs typeface="Arial" panose="020B0604020202020204" pitchFamily="34" charset="0"/>
              </a:rPr>
              <a:t>Utforske domener</a:t>
            </a:r>
            <a:endParaRPr lang="nb-NO" sz="1800" dirty="0">
              <a:effectLst/>
              <a:latin typeface="Calibri" panose="020F0502020204030204" pitchFamily="34" charset="0"/>
              <a:ea typeface="Yu Mincho" panose="02020400000000000000" pitchFamily="18" charset="-128"/>
              <a:cs typeface="Arial" panose="020B0604020202020204" pitchFamily="34" charset="0"/>
            </a:endParaRPr>
          </a:p>
          <a:p>
            <a:pPr marL="342900" lvl="0" indent="-342900">
              <a:lnSpc>
                <a:spcPct val="115000"/>
              </a:lnSpc>
              <a:spcAft>
                <a:spcPts val="800"/>
              </a:spcAft>
              <a:buFont typeface="+mj-lt"/>
              <a:buAutoNum type="arabicPeriod"/>
            </a:pPr>
            <a:r>
              <a:rPr lang="nb-NO" sz="2400" dirty="0">
                <a:effectLst/>
                <a:latin typeface="Calibri" panose="020F0502020204030204" pitchFamily="34" charset="0"/>
                <a:ea typeface="Yu Gothic Light" panose="020B0300000000000000" pitchFamily="34" charset="-128"/>
                <a:cs typeface="Arial" panose="020B0604020202020204" pitchFamily="34" charset="0"/>
              </a:rPr>
              <a:t>Kommunisere utviklingsbehov til grunndatakoordinator, evt. domeneansvarlig der dette er etablert</a:t>
            </a:r>
            <a:endParaRPr lang="nb-NO" sz="1800" dirty="0">
              <a:effectLst/>
              <a:latin typeface="Calibri" panose="020F0502020204030204" pitchFamily="34" charset="0"/>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252113858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Plassholder for innhold 2">
            <a:extLst>
              <a:ext uri="{FF2B5EF4-FFF2-40B4-BE49-F238E27FC236}">
                <a16:creationId xmlns:a16="http://schemas.microsoft.com/office/drawing/2014/main" id="{9819D6F8-37A0-5CA8-43C1-0C774C95CAF8}"/>
              </a:ext>
            </a:extLst>
          </p:cNvPr>
          <p:cNvGraphicFramePr>
            <a:graphicFrameLocks noGrp="1"/>
          </p:cNvGraphicFramePr>
          <p:nvPr>
            <p:ph idx="1"/>
          </p:nvPr>
        </p:nvGraphicFramePr>
        <p:xfrm>
          <a:off x="1117490" y="175062"/>
          <a:ext cx="14579710" cy="59986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kstSylinder 5">
            <a:extLst>
              <a:ext uri="{FF2B5EF4-FFF2-40B4-BE49-F238E27FC236}">
                <a16:creationId xmlns:a16="http://schemas.microsoft.com/office/drawing/2014/main" id="{5C83DAF0-188C-63B0-E3E7-53C1FE044302}"/>
              </a:ext>
            </a:extLst>
          </p:cNvPr>
          <p:cNvSpPr txBox="1"/>
          <p:nvPr/>
        </p:nvSpPr>
        <p:spPr>
          <a:xfrm>
            <a:off x="7921734" y="2328139"/>
            <a:ext cx="7215187" cy="1477328"/>
          </a:xfrm>
          <a:prstGeom prst="rect">
            <a:avLst/>
          </a:prstGeom>
          <a:noFill/>
        </p:spPr>
        <p:txBody>
          <a:bodyPr wrap="square" rtlCol="0">
            <a:spAutoFit/>
          </a:bodyPr>
          <a:lstStyle/>
          <a:p>
            <a:pPr marL="285750" indent="-285750">
              <a:buFont typeface="Arial" panose="020B0604020202020204" pitchFamily="34" charset="0"/>
              <a:buChar char="•"/>
            </a:pPr>
            <a:r>
              <a:rPr lang="nb-NO" sz="1500"/>
              <a:t>Domeneansvarlig sørger for god dataforvaltning i domenet ved å delegere ansvarsoppgaver knyttet til blant annet datakvalitet og tilgjengelighet</a:t>
            </a:r>
          </a:p>
          <a:p>
            <a:pPr marL="285750" indent="-285750">
              <a:buFont typeface="Arial" panose="020B0604020202020204" pitchFamily="34" charset="0"/>
              <a:buChar char="•"/>
            </a:pPr>
            <a:r>
              <a:rPr lang="nb-NO" sz="1500"/>
              <a:t>Domeneansvarlig skal sørge for at det etableres «feedback loops» inn til aktuelle grunndataforvaltere</a:t>
            </a:r>
          </a:p>
          <a:p>
            <a:pPr marL="285750" indent="-285750">
              <a:buFont typeface="Arial" panose="020B0604020202020204" pitchFamily="34" charset="0"/>
              <a:buChar char="•"/>
            </a:pPr>
            <a:r>
              <a:rPr lang="nb-NO" sz="1500"/>
              <a:t>Domeneansvarlig har ansvar for å organisere prosess(er) med involverte aktører for å dokumentere konsumentenes databehov og hensiktsmessige krav knyttet til dataene </a:t>
            </a:r>
            <a:endParaRPr lang="en-US" sz="1500"/>
          </a:p>
        </p:txBody>
      </p:sp>
      <p:sp>
        <p:nvSpPr>
          <p:cNvPr id="2" name="Tittel 1">
            <a:extLst>
              <a:ext uri="{FF2B5EF4-FFF2-40B4-BE49-F238E27FC236}">
                <a16:creationId xmlns:a16="http://schemas.microsoft.com/office/drawing/2014/main" id="{513A6B5E-BE2C-1CAC-2216-68FCC7E33824}"/>
              </a:ext>
            </a:extLst>
          </p:cNvPr>
          <p:cNvSpPr txBox="1">
            <a:spLocks/>
          </p:cNvSpPr>
          <p:nvPr/>
        </p:nvSpPr>
        <p:spPr>
          <a:xfrm>
            <a:off x="1117490" y="4752360"/>
            <a:ext cx="14019431" cy="3802703"/>
          </a:xfrm>
          <a:prstGeom prst="rect">
            <a:avLst/>
          </a:prstGeom>
        </p:spPr>
        <p:txBody>
          <a:bodyPr vert="horz" lIns="0" tIns="0" rIns="0" bIns="0" rtlCol="0" anchor="t" anchorCtr="0">
            <a:normAutofit/>
          </a:bodyPr>
          <a:lstStyle>
            <a:lvl1pPr algn="l" defTabSz="914223" rtl="0" eaLnBrk="1" latinLnBrk="0" hangingPunct="1">
              <a:lnSpc>
                <a:spcPct val="90000"/>
              </a:lnSpc>
              <a:spcBef>
                <a:spcPct val="0"/>
              </a:spcBef>
              <a:buNone/>
              <a:defRPr sz="3000" kern="1200">
                <a:solidFill>
                  <a:schemeClr val="dk2"/>
                </a:solidFill>
                <a:latin typeface="+mj-lt"/>
                <a:ea typeface="+mj-ea"/>
                <a:cs typeface="+mj-cs"/>
              </a:defRPr>
            </a:lvl1pPr>
          </a:lstStyle>
          <a:p>
            <a:r>
              <a:rPr lang="nb-NO" b="1" dirty="0"/>
              <a:t>Justering</a:t>
            </a:r>
          </a:p>
          <a:p>
            <a:pPr marL="457200" indent="-457200">
              <a:buFontTx/>
              <a:buChar char="-"/>
            </a:pPr>
            <a:r>
              <a:rPr lang="nb-NO" dirty="0"/>
              <a:t>Domeneansvarlig reduserer til beskrivelse i rammeverket. Denne rollen må oppstå som et svar på behov.</a:t>
            </a:r>
          </a:p>
          <a:p>
            <a:r>
              <a:rPr lang="nb-NO" b="1" dirty="0"/>
              <a:t>Kommentar</a:t>
            </a:r>
          </a:p>
          <a:p>
            <a:pPr marL="457200" indent="-457200">
              <a:buFontTx/>
              <a:buChar char="-"/>
            </a:pPr>
            <a:r>
              <a:rPr lang="nb-NO" dirty="0"/>
              <a:t>Det er vanskelig å predefinere domener</a:t>
            </a:r>
          </a:p>
          <a:p>
            <a:pPr marL="457200" indent="-457200">
              <a:buFontTx/>
              <a:buChar char="-"/>
            </a:pPr>
            <a:r>
              <a:rPr lang="nb-NO" dirty="0"/>
              <a:t>Domener og domeneansvar må oppstå basert på behov når to eller flere grunndataforvaltere ser behovet for mer samordning i utviklingen og ansvarsfordeling.</a:t>
            </a:r>
          </a:p>
          <a:p>
            <a:pPr marL="457200" indent="-457200">
              <a:buFontTx/>
              <a:buChar char="-"/>
            </a:pPr>
            <a:endParaRPr lang="nb-NO" dirty="0"/>
          </a:p>
        </p:txBody>
      </p:sp>
      <p:sp>
        <p:nvSpPr>
          <p:cNvPr id="8" name="Tittel 1">
            <a:extLst>
              <a:ext uri="{FF2B5EF4-FFF2-40B4-BE49-F238E27FC236}">
                <a16:creationId xmlns:a16="http://schemas.microsoft.com/office/drawing/2014/main" id="{6522DBEB-D63A-CB6B-76F8-E4082AE45F22}"/>
              </a:ext>
            </a:extLst>
          </p:cNvPr>
          <p:cNvSpPr>
            <a:spLocks noGrp="1"/>
          </p:cNvSpPr>
          <p:nvPr>
            <p:ph type="title"/>
          </p:nvPr>
        </p:nvSpPr>
        <p:spPr>
          <a:xfrm>
            <a:off x="1117490" y="1277256"/>
            <a:ext cx="14019431" cy="570867"/>
          </a:xfrm>
        </p:spPr>
        <p:txBody>
          <a:bodyPr>
            <a:normAutofit/>
          </a:bodyPr>
          <a:lstStyle/>
          <a:p>
            <a:r>
              <a:rPr lang="nb-NO" b="1" dirty="0"/>
              <a:t>Utkast oppdaterte roller/ansvar etter utprøving i caser</a:t>
            </a:r>
          </a:p>
        </p:txBody>
      </p:sp>
      <p:sp>
        <p:nvSpPr>
          <p:cNvPr id="3" name="Rektangel: avrundede hjørner 2">
            <a:extLst>
              <a:ext uri="{FF2B5EF4-FFF2-40B4-BE49-F238E27FC236}">
                <a16:creationId xmlns:a16="http://schemas.microsoft.com/office/drawing/2014/main" id="{E4E81F41-0739-652B-DCA8-F6A1F4E3C2E9}"/>
              </a:ext>
            </a:extLst>
          </p:cNvPr>
          <p:cNvSpPr/>
          <p:nvPr/>
        </p:nvSpPr>
        <p:spPr>
          <a:xfrm>
            <a:off x="975908" y="2190236"/>
            <a:ext cx="14862874" cy="1968285"/>
          </a:xfrm>
          <a:prstGeom prst="roundRect">
            <a:avLst/>
          </a:prstGeom>
          <a:blipFill dpi="0" rotWithShape="1">
            <a:blip r:embed="rId8">
              <a:alphaModFix amt="52000"/>
            </a:blip>
            <a:srcRect/>
            <a:tile tx="0" ty="0" sx="100000" sy="100000" flip="none" algn="tl"/>
          </a:blip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3856674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tabel" descr="Priorities with solid fill" hidden="1">
            <a:extLst>
              <a:ext uri="{FF2B5EF4-FFF2-40B4-BE49-F238E27FC236}">
                <a16:creationId xmlns:a16="http://schemas.microsoft.com/office/drawing/2014/main" id="{D137144C-92A7-C0C2-2399-677E440CC22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10821" y="822893"/>
            <a:ext cx="514040" cy="514040"/>
          </a:xfrm>
          <a:prstGeom prst="rect">
            <a:avLst/>
          </a:prstGeom>
        </p:spPr>
      </p:pic>
      <p:pic>
        <p:nvPicPr>
          <p:cNvPr id="7" name="piler &gt;&gt;" descr="Fast Forward with solid fill" hidden="1">
            <a:extLst>
              <a:ext uri="{FF2B5EF4-FFF2-40B4-BE49-F238E27FC236}">
                <a16:creationId xmlns:a16="http://schemas.microsoft.com/office/drawing/2014/main" id="{A5169BEA-B351-5C09-5B89-3901E86C5A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24315" y="811055"/>
            <a:ext cx="529680" cy="529680"/>
          </a:xfrm>
          <a:prstGeom prst="rect">
            <a:avLst/>
          </a:prstGeom>
        </p:spPr>
      </p:pic>
      <p:grpSp>
        <p:nvGrpSpPr>
          <p:cNvPr id="43" name="Gruppe 42">
            <a:extLst>
              <a:ext uri="{FF2B5EF4-FFF2-40B4-BE49-F238E27FC236}">
                <a16:creationId xmlns:a16="http://schemas.microsoft.com/office/drawing/2014/main" id="{A8DC6B9A-1329-D952-D140-023E1998C513}"/>
              </a:ext>
            </a:extLst>
          </p:cNvPr>
          <p:cNvGrpSpPr/>
          <p:nvPr/>
        </p:nvGrpSpPr>
        <p:grpSpPr>
          <a:xfrm>
            <a:off x="1588730" y="1605161"/>
            <a:ext cx="13076952" cy="7156453"/>
            <a:chOff x="3132867" y="1980041"/>
            <a:chExt cx="9988678" cy="5183918"/>
          </a:xfrm>
        </p:grpSpPr>
        <p:cxnSp>
          <p:nvCxnSpPr>
            <p:cNvPr id="2" name="Rett pilkobling 1">
              <a:extLst>
                <a:ext uri="{FF2B5EF4-FFF2-40B4-BE49-F238E27FC236}">
                  <a16:creationId xmlns:a16="http://schemas.microsoft.com/office/drawing/2014/main" id="{A7D85C72-EB49-DAEC-4762-265A1818A3B9}"/>
                </a:ext>
              </a:extLst>
            </p:cNvPr>
            <p:cNvCxnSpPr>
              <a:cxnSpLocks/>
              <a:endCxn id="32" idx="0"/>
            </p:cNvCxnSpPr>
            <p:nvPr/>
          </p:nvCxnSpPr>
          <p:spPr>
            <a:xfrm>
              <a:off x="10147638" y="3335364"/>
              <a:ext cx="0" cy="2750250"/>
            </a:xfrm>
            <a:prstGeom prst="straightConnector1">
              <a:avLst/>
            </a:prstGeom>
            <a:noFill/>
            <a:ln w="6350" cap="flat" cmpd="sng" algn="ctr">
              <a:solidFill>
                <a:srgbClr val="1E2B3C"/>
              </a:solidFill>
              <a:prstDash val="solid"/>
              <a:miter lim="800000"/>
              <a:headEnd type="triangle"/>
              <a:tailEnd type="triangle"/>
            </a:ln>
            <a:effectLst/>
          </p:spPr>
        </p:cxnSp>
        <p:cxnSp>
          <p:nvCxnSpPr>
            <p:cNvPr id="4" name="Rett pilkobling 3">
              <a:extLst>
                <a:ext uri="{FF2B5EF4-FFF2-40B4-BE49-F238E27FC236}">
                  <a16:creationId xmlns:a16="http://schemas.microsoft.com/office/drawing/2014/main" id="{49EA29BC-EE13-3108-FBC1-1867ABE16EC8}"/>
                </a:ext>
              </a:extLst>
            </p:cNvPr>
            <p:cNvCxnSpPr>
              <a:cxnSpLocks/>
            </p:cNvCxnSpPr>
            <p:nvPr/>
          </p:nvCxnSpPr>
          <p:spPr>
            <a:xfrm>
              <a:off x="12280357" y="3335364"/>
              <a:ext cx="0" cy="2740955"/>
            </a:xfrm>
            <a:prstGeom prst="straightConnector1">
              <a:avLst/>
            </a:prstGeom>
            <a:noFill/>
            <a:ln w="6350" cap="flat" cmpd="sng" algn="ctr">
              <a:solidFill>
                <a:srgbClr val="1E2B3C"/>
              </a:solidFill>
              <a:prstDash val="solid"/>
              <a:miter lim="800000"/>
              <a:headEnd type="triangle"/>
              <a:tailEnd type="triangle"/>
            </a:ln>
            <a:effectLst/>
          </p:spPr>
        </p:cxnSp>
        <p:sp>
          <p:nvSpPr>
            <p:cNvPr id="5" name="Skate">
              <a:extLst>
                <a:ext uri="{FF2B5EF4-FFF2-40B4-BE49-F238E27FC236}">
                  <a16:creationId xmlns:a16="http://schemas.microsoft.com/office/drawing/2014/main" id="{DF6F9EDA-2E94-E092-BD91-9E4C955D45BB}"/>
                </a:ext>
              </a:extLst>
            </p:cNvPr>
            <p:cNvSpPr/>
            <p:nvPr/>
          </p:nvSpPr>
          <p:spPr>
            <a:xfrm>
              <a:off x="7369197" y="1980041"/>
              <a:ext cx="1519190" cy="686308"/>
            </a:xfrm>
            <a:prstGeom prst="roundRect">
              <a:avLst/>
            </a:prstGeom>
            <a:solidFill>
              <a:srgbClr val="F8AFB0"/>
            </a:solidFill>
            <a:ln w="6350" cap="flat" cmpd="sng" algn="ctr">
              <a:noFill/>
              <a:prstDash val="solid"/>
              <a:miter lim="800000"/>
            </a:ln>
            <a:effectLst/>
          </p:spPr>
          <p:txBody>
            <a:bodyPr rtlCol="0" anchor="t"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tyrende organ</a:t>
              </a:r>
            </a:p>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nb-NO" sz="1200" b="0" i="0" u="none" strike="noStrike" kern="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nb-NO" sz="1200" b="0" i="0" u="none" strike="noStrike" kern="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nb-NO" sz="1200" b="0"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8" name="Rounded Rectangle 12">
              <a:extLst>
                <a:ext uri="{FF2B5EF4-FFF2-40B4-BE49-F238E27FC236}">
                  <a16:creationId xmlns:a16="http://schemas.microsoft.com/office/drawing/2014/main" id="{49F21D30-C151-EA33-B95E-B2AC51BFB9C5}"/>
                </a:ext>
              </a:extLst>
            </p:cNvPr>
            <p:cNvSpPr/>
            <p:nvPr/>
          </p:nvSpPr>
          <p:spPr>
            <a:xfrm>
              <a:off x="3136036" y="2941485"/>
              <a:ext cx="9985509" cy="388947"/>
            </a:xfrm>
            <a:prstGeom prst="roundRect">
              <a:avLst/>
            </a:prstGeom>
            <a:solidFill>
              <a:srgbClr val="F8AFB0"/>
            </a:solidFill>
            <a:ln w="6350" cap="flat" cmpd="sng" algn="ctr">
              <a:noFill/>
              <a:prstDash val="solid"/>
              <a:miter lim="800000"/>
            </a:ln>
            <a:effectLst/>
          </p:spPr>
          <p:txBody>
            <a:bodyPr vert="horz" rtlCol="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asjonal grunndatakoordinator</a:t>
              </a:r>
            </a:p>
          </p:txBody>
        </p:sp>
        <p:pic>
          <p:nvPicPr>
            <p:cNvPr id="9" name="Grafikk 104" descr="Piler i sirkel kontur">
              <a:extLst>
                <a:ext uri="{FF2B5EF4-FFF2-40B4-BE49-F238E27FC236}">
                  <a16:creationId xmlns:a16="http://schemas.microsoft.com/office/drawing/2014/main" id="{F3370C7D-B18C-497A-32F2-4AF527FB661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04915" y="2386207"/>
              <a:ext cx="847751" cy="818691"/>
            </a:xfrm>
            <a:prstGeom prst="rect">
              <a:avLst/>
            </a:prstGeom>
          </p:spPr>
        </p:pic>
        <p:grpSp>
          <p:nvGrpSpPr>
            <p:cNvPr id="10" name="Gruppe 9">
              <a:extLst>
                <a:ext uri="{FF2B5EF4-FFF2-40B4-BE49-F238E27FC236}">
                  <a16:creationId xmlns:a16="http://schemas.microsoft.com/office/drawing/2014/main" id="{142E55F3-CE26-AA16-2098-7DF69EA16CC2}"/>
                </a:ext>
              </a:extLst>
            </p:cNvPr>
            <p:cNvGrpSpPr/>
            <p:nvPr/>
          </p:nvGrpSpPr>
          <p:grpSpPr>
            <a:xfrm>
              <a:off x="3132867" y="6076320"/>
              <a:ext cx="7879377" cy="1087639"/>
              <a:chOff x="-4398129" y="4936610"/>
              <a:chExt cx="8498013" cy="1214672"/>
            </a:xfrm>
          </p:grpSpPr>
          <p:sp>
            <p:nvSpPr>
              <p:cNvPr id="31" name="Rounded Rectangle 9">
                <a:extLst>
                  <a:ext uri="{FF2B5EF4-FFF2-40B4-BE49-F238E27FC236}">
                    <a16:creationId xmlns:a16="http://schemas.microsoft.com/office/drawing/2014/main" id="{1A5C6283-3D78-4006-99ED-3AC1B52C04A9}"/>
                  </a:ext>
                </a:extLst>
              </p:cNvPr>
              <p:cNvSpPr/>
              <p:nvPr/>
            </p:nvSpPr>
            <p:spPr>
              <a:xfrm rot="10800000">
                <a:off x="2237613" y="4946987"/>
                <a:ext cx="1862271" cy="1204295"/>
              </a:xfrm>
              <a:prstGeom prst="round2SameRect">
                <a:avLst/>
              </a:prstGeom>
              <a:solidFill>
                <a:srgbClr val="D1E7F6"/>
              </a:solidFill>
              <a:ln w="6350" cap="flat" cmpd="sng" algn="ctr">
                <a:solidFill>
                  <a:srgbClr val="1E2B3C">
                    <a:lumMod val="25000"/>
                    <a:lumOff val="75000"/>
                  </a:srgbClr>
                </a:solidFill>
                <a:prstDash val="solid"/>
                <a:miter lim="800000"/>
              </a:ln>
              <a:effectLst/>
            </p:spPr>
            <p:txBody>
              <a:bodyPr rtlCol="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1"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2" name="TekstSylinder 107">
                <a:extLst>
                  <a:ext uri="{FF2B5EF4-FFF2-40B4-BE49-F238E27FC236}">
                    <a16:creationId xmlns:a16="http://schemas.microsoft.com/office/drawing/2014/main" id="{71F6257B-0E13-8F9E-367E-D977312EA61B}"/>
                  </a:ext>
                </a:extLst>
              </p:cNvPr>
              <p:cNvSpPr txBox="1"/>
              <p:nvPr/>
            </p:nvSpPr>
            <p:spPr>
              <a:xfrm>
                <a:off x="2237614" y="4946991"/>
                <a:ext cx="1859571" cy="343726"/>
              </a:xfrm>
              <a:prstGeom prst="rect">
                <a:avLst/>
              </a:prstGeom>
              <a:noFill/>
              <a:ln>
                <a:solidFill>
                  <a:srgbClr val="1E2B3C">
                    <a:lumMod val="25000"/>
                    <a:lumOff val="75000"/>
                  </a:srgbClr>
                </a:solid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Grunndataforvalter</a:t>
                </a:r>
                <a:endParaRPr kumimoji="0" lang="nb-NO" sz="18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
            <p:nvSpPr>
              <p:cNvPr id="33" name="TekstSylinder 108">
                <a:extLst>
                  <a:ext uri="{FF2B5EF4-FFF2-40B4-BE49-F238E27FC236}">
                    <a16:creationId xmlns:a16="http://schemas.microsoft.com/office/drawing/2014/main" id="{1C182214-F7FC-9FF1-333C-38DC7C9EF32B}"/>
                  </a:ext>
                </a:extLst>
              </p:cNvPr>
              <p:cNvSpPr txBox="1"/>
              <p:nvPr/>
            </p:nvSpPr>
            <p:spPr>
              <a:xfrm>
                <a:off x="2422578" y="5395525"/>
                <a:ext cx="1494946" cy="646495"/>
              </a:xfrm>
              <a:prstGeom prst="roundRect">
                <a:avLst/>
              </a:prstGeom>
              <a:solidFill>
                <a:srgbClr val="7391B9"/>
              </a:solidFill>
              <a:ln>
                <a:solidFill>
                  <a:srgbClr val="FFFFFF"/>
                </a:solid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Nasjonale grunndata</a:t>
                </a:r>
              </a:p>
            </p:txBody>
          </p:sp>
          <p:sp>
            <p:nvSpPr>
              <p:cNvPr id="34" name="Rounded Rectangle 9">
                <a:extLst>
                  <a:ext uri="{FF2B5EF4-FFF2-40B4-BE49-F238E27FC236}">
                    <a16:creationId xmlns:a16="http://schemas.microsoft.com/office/drawing/2014/main" id="{2CEDDB8B-B3F6-794B-D4BC-063041427D9B}"/>
                  </a:ext>
                </a:extLst>
              </p:cNvPr>
              <p:cNvSpPr/>
              <p:nvPr/>
            </p:nvSpPr>
            <p:spPr>
              <a:xfrm rot="10800000">
                <a:off x="26614" y="4936615"/>
                <a:ext cx="1862269" cy="1204294"/>
              </a:xfrm>
              <a:prstGeom prst="round2SameRect">
                <a:avLst/>
              </a:prstGeom>
              <a:solidFill>
                <a:srgbClr val="D1E7F6"/>
              </a:solidFill>
              <a:ln w="6350" cap="flat" cmpd="sng" algn="ctr">
                <a:solidFill>
                  <a:srgbClr val="1E2B3C">
                    <a:lumMod val="25000"/>
                    <a:lumOff val="75000"/>
                  </a:srgbClr>
                </a:solidFill>
                <a:prstDash val="solid"/>
                <a:miter lim="800000"/>
              </a:ln>
              <a:effectLst/>
            </p:spPr>
            <p:txBody>
              <a:bodyPr rtlCol="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1"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5" name="TekstSylinder 165">
                <a:extLst>
                  <a:ext uri="{FF2B5EF4-FFF2-40B4-BE49-F238E27FC236}">
                    <a16:creationId xmlns:a16="http://schemas.microsoft.com/office/drawing/2014/main" id="{3B81F910-43CB-DF1C-A608-4F49FC721A09}"/>
                  </a:ext>
                </a:extLst>
              </p:cNvPr>
              <p:cNvSpPr txBox="1"/>
              <p:nvPr/>
            </p:nvSpPr>
            <p:spPr>
              <a:xfrm>
                <a:off x="26617" y="4936615"/>
                <a:ext cx="1859570" cy="343725"/>
              </a:xfrm>
              <a:prstGeom prst="rect">
                <a:avLst/>
              </a:prstGeom>
              <a:noFill/>
              <a:ln>
                <a:solidFill>
                  <a:srgbClr val="1E2B3C">
                    <a:lumMod val="25000"/>
                    <a:lumOff val="75000"/>
                  </a:srgbClr>
                </a:solid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Grunndataforvalter</a:t>
                </a:r>
                <a:endParaRPr kumimoji="0" lang="nb-NO" sz="18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
            <p:nvSpPr>
              <p:cNvPr id="36" name="TekstSylinder 166">
                <a:extLst>
                  <a:ext uri="{FF2B5EF4-FFF2-40B4-BE49-F238E27FC236}">
                    <a16:creationId xmlns:a16="http://schemas.microsoft.com/office/drawing/2014/main" id="{711EE948-B32F-87D2-D2DC-1963D4C2F531}"/>
                  </a:ext>
                </a:extLst>
              </p:cNvPr>
              <p:cNvSpPr txBox="1"/>
              <p:nvPr/>
            </p:nvSpPr>
            <p:spPr>
              <a:xfrm>
                <a:off x="211581" y="5385149"/>
                <a:ext cx="1494947" cy="646492"/>
              </a:xfrm>
              <a:prstGeom prst="roundRect">
                <a:avLst/>
              </a:prstGeom>
              <a:solidFill>
                <a:srgbClr val="7391B9"/>
              </a:solidFill>
              <a:ln>
                <a:solidFill>
                  <a:srgbClr val="FFFFFF"/>
                </a:solid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Nasjonale grunndata</a:t>
                </a:r>
              </a:p>
            </p:txBody>
          </p:sp>
          <p:sp>
            <p:nvSpPr>
              <p:cNvPr id="37" name="Rounded Rectangle 9">
                <a:extLst>
                  <a:ext uri="{FF2B5EF4-FFF2-40B4-BE49-F238E27FC236}">
                    <a16:creationId xmlns:a16="http://schemas.microsoft.com/office/drawing/2014/main" id="{B24FFF2E-54A4-AAA5-AF6A-337136CB06C8}"/>
                  </a:ext>
                </a:extLst>
              </p:cNvPr>
              <p:cNvSpPr/>
              <p:nvPr/>
            </p:nvSpPr>
            <p:spPr>
              <a:xfrm rot="10800000">
                <a:off x="-4398129" y="4936615"/>
                <a:ext cx="1862269" cy="1204294"/>
              </a:xfrm>
              <a:prstGeom prst="round2SameRect">
                <a:avLst/>
              </a:prstGeom>
              <a:solidFill>
                <a:srgbClr val="D1E7F6"/>
              </a:solidFill>
              <a:ln w="6350" cap="flat" cmpd="sng" algn="ctr">
                <a:solidFill>
                  <a:srgbClr val="1E2B3C">
                    <a:lumMod val="25000"/>
                    <a:lumOff val="75000"/>
                  </a:srgbClr>
                </a:solidFill>
                <a:prstDash val="solid"/>
                <a:miter lim="800000"/>
              </a:ln>
              <a:effectLst/>
            </p:spPr>
            <p:txBody>
              <a:bodyPr rtlCol="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1"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8" name="TekstSylinder 168">
                <a:extLst>
                  <a:ext uri="{FF2B5EF4-FFF2-40B4-BE49-F238E27FC236}">
                    <a16:creationId xmlns:a16="http://schemas.microsoft.com/office/drawing/2014/main" id="{BD8A50B7-B52B-F0DC-04B1-F7E8081E0690}"/>
                  </a:ext>
                </a:extLst>
              </p:cNvPr>
              <p:cNvSpPr txBox="1"/>
              <p:nvPr/>
            </p:nvSpPr>
            <p:spPr>
              <a:xfrm>
                <a:off x="-4398125" y="4936612"/>
                <a:ext cx="1859571" cy="343726"/>
              </a:xfrm>
              <a:prstGeom prst="rect">
                <a:avLst/>
              </a:prstGeom>
              <a:noFill/>
              <a:ln>
                <a:solidFill>
                  <a:srgbClr val="1E2B3C">
                    <a:lumMod val="25000"/>
                    <a:lumOff val="75000"/>
                  </a:srgbClr>
                </a:solid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Grunndataforvalter</a:t>
                </a:r>
                <a:endParaRPr kumimoji="0" lang="nb-NO" sz="18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
            <p:nvSpPr>
              <p:cNvPr id="39" name="TekstSylinder 169">
                <a:extLst>
                  <a:ext uri="{FF2B5EF4-FFF2-40B4-BE49-F238E27FC236}">
                    <a16:creationId xmlns:a16="http://schemas.microsoft.com/office/drawing/2014/main" id="{8AC6EB31-F566-986F-E58F-B3EEA8FCDEE7}"/>
                  </a:ext>
                </a:extLst>
              </p:cNvPr>
              <p:cNvSpPr txBox="1"/>
              <p:nvPr/>
            </p:nvSpPr>
            <p:spPr>
              <a:xfrm>
                <a:off x="-4213162" y="5385146"/>
                <a:ext cx="1494947" cy="646491"/>
              </a:xfrm>
              <a:prstGeom prst="roundRect">
                <a:avLst/>
              </a:prstGeom>
              <a:solidFill>
                <a:srgbClr val="7391B9"/>
              </a:solidFill>
              <a:ln>
                <a:solidFill>
                  <a:srgbClr val="FFFFFF"/>
                </a:solid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Nasjonale grunndata</a:t>
                </a:r>
              </a:p>
            </p:txBody>
          </p:sp>
          <p:sp>
            <p:nvSpPr>
              <p:cNvPr id="40" name="Rounded Rectangle 9">
                <a:extLst>
                  <a:ext uri="{FF2B5EF4-FFF2-40B4-BE49-F238E27FC236}">
                    <a16:creationId xmlns:a16="http://schemas.microsoft.com/office/drawing/2014/main" id="{5E9B8865-2F0C-7B41-CB43-FE720F2E97E0}"/>
                  </a:ext>
                </a:extLst>
              </p:cNvPr>
              <p:cNvSpPr/>
              <p:nvPr/>
            </p:nvSpPr>
            <p:spPr>
              <a:xfrm rot="10800000">
                <a:off x="-2184386" y="4936610"/>
                <a:ext cx="1862269" cy="1204294"/>
              </a:xfrm>
              <a:prstGeom prst="round2SameRect">
                <a:avLst/>
              </a:prstGeom>
              <a:solidFill>
                <a:srgbClr val="D1E7F6"/>
              </a:solidFill>
              <a:ln w="6350" cap="flat" cmpd="sng" algn="ctr">
                <a:solidFill>
                  <a:srgbClr val="1E2B3C">
                    <a:lumMod val="25000"/>
                    <a:lumOff val="75000"/>
                  </a:srgbClr>
                </a:solidFill>
                <a:prstDash val="solid"/>
                <a:miter lim="800000"/>
              </a:ln>
              <a:effectLst/>
            </p:spPr>
            <p:txBody>
              <a:bodyPr rtlCol="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1"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1" name="TekstSylinder 172">
                <a:extLst>
                  <a:ext uri="{FF2B5EF4-FFF2-40B4-BE49-F238E27FC236}">
                    <a16:creationId xmlns:a16="http://schemas.microsoft.com/office/drawing/2014/main" id="{CB421AC8-91FC-F1C7-3B6B-6CE0D3FF4853}"/>
                  </a:ext>
                </a:extLst>
              </p:cNvPr>
              <p:cNvSpPr txBox="1"/>
              <p:nvPr/>
            </p:nvSpPr>
            <p:spPr>
              <a:xfrm>
                <a:off x="-2184384" y="4936612"/>
                <a:ext cx="1859570" cy="343726"/>
              </a:xfrm>
              <a:prstGeom prst="rect">
                <a:avLst/>
              </a:prstGeom>
              <a:noFill/>
              <a:ln>
                <a:solidFill>
                  <a:srgbClr val="1E2B3C">
                    <a:lumMod val="25000"/>
                    <a:lumOff val="75000"/>
                  </a:srgbClr>
                </a:solid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Grunndataforvalter</a:t>
                </a:r>
                <a:endParaRPr kumimoji="0" lang="nb-NO" sz="18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
            <p:nvSpPr>
              <p:cNvPr id="42" name="TekstSylinder 173">
                <a:extLst>
                  <a:ext uri="{FF2B5EF4-FFF2-40B4-BE49-F238E27FC236}">
                    <a16:creationId xmlns:a16="http://schemas.microsoft.com/office/drawing/2014/main" id="{8A2C7F5D-290E-9FB1-FE94-7BB8A5D25BAA}"/>
                  </a:ext>
                </a:extLst>
              </p:cNvPr>
              <p:cNvSpPr txBox="1"/>
              <p:nvPr/>
            </p:nvSpPr>
            <p:spPr>
              <a:xfrm>
                <a:off x="-1999420" y="5385145"/>
                <a:ext cx="1494947" cy="646493"/>
              </a:xfrm>
              <a:prstGeom prst="roundRect">
                <a:avLst/>
              </a:prstGeom>
              <a:solidFill>
                <a:srgbClr val="7391B9"/>
              </a:solidFill>
              <a:ln>
                <a:solidFill>
                  <a:srgbClr val="FFFFFF"/>
                </a:solid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Nasjonale grunndata</a:t>
                </a:r>
              </a:p>
            </p:txBody>
          </p:sp>
        </p:grpSp>
        <p:grpSp>
          <p:nvGrpSpPr>
            <p:cNvPr id="11" name="Gruppe 10">
              <a:extLst>
                <a:ext uri="{FF2B5EF4-FFF2-40B4-BE49-F238E27FC236}">
                  <a16:creationId xmlns:a16="http://schemas.microsoft.com/office/drawing/2014/main" id="{89B68EE1-46CD-304F-6311-2C2F4C048D21}"/>
                </a:ext>
              </a:extLst>
            </p:cNvPr>
            <p:cNvGrpSpPr/>
            <p:nvPr/>
          </p:nvGrpSpPr>
          <p:grpSpPr>
            <a:xfrm>
              <a:off x="11394844" y="6076321"/>
              <a:ext cx="1726701" cy="1078346"/>
              <a:chOff x="801069" y="4936612"/>
              <a:chExt cx="1862270" cy="1204294"/>
            </a:xfrm>
          </p:grpSpPr>
          <p:sp>
            <p:nvSpPr>
              <p:cNvPr id="28" name="Rounded Rectangle 9">
                <a:extLst>
                  <a:ext uri="{FF2B5EF4-FFF2-40B4-BE49-F238E27FC236}">
                    <a16:creationId xmlns:a16="http://schemas.microsoft.com/office/drawing/2014/main" id="{68396B4E-A98C-9A74-FCCE-D0D2365500A6}"/>
                  </a:ext>
                </a:extLst>
              </p:cNvPr>
              <p:cNvSpPr/>
              <p:nvPr/>
            </p:nvSpPr>
            <p:spPr>
              <a:xfrm rot="10800000">
                <a:off x="801069" y="4936612"/>
                <a:ext cx="1862270" cy="1204294"/>
              </a:xfrm>
              <a:prstGeom prst="round2SameRect">
                <a:avLst/>
              </a:prstGeom>
              <a:solidFill>
                <a:srgbClr val="E5AA20">
                  <a:lumMod val="40000"/>
                  <a:lumOff val="60000"/>
                </a:srgbClr>
              </a:solidFill>
              <a:ln w="6350" cap="flat" cmpd="sng" algn="ctr">
                <a:solidFill>
                  <a:srgbClr val="1E2B3C">
                    <a:lumMod val="25000"/>
                    <a:lumOff val="75000"/>
                  </a:srgbClr>
                </a:solidFill>
                <a:prstDash val="solid"/>
                <a:miter lim="800000"/>
              </a:ln>
              <a:effectLst/>
            </p:spPr>
            <p:txBody>
              <a:bodyPr rtlCol="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1"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9" name="TekstSylinder 123">
                <a:extLst>
                  <a:ext uri="{FF2B5EF4-FFF2-40B4-BE49-F238E27FC236}">
                    <a16:creationId xmlns:a16="http://schemas.microsoft.com/office/drawing/2014/main" id="{304C7A08-DCDB-5FE4-4FED-7106086B7892}"/>
                  </a:ext>
                </a:extLst>
              </p:cNvPr>
              <p:cNvSpPr txBox="1"/>
              <p:nvPr/>
            </p:nvSpPr>
            <p:spPr>
              <a:xfrm>
                <a:off x="1172478" y="4936612"/>
                <a:ext cx="1490861" cy="378097"/>
              </a:xfrm>
              <a:prstGeom prst="rect">
                <a:avLst/>
              </a:prstGeom>
              <a:noFill/>
              <a:ln>
                <a:no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0" cap="none" spc="0" normalizeH="0" baseline="0" noProof="0" dirty="0">
                  <a:ln>
                    <a:noFill/>
                  </a:ln>
                  <a:solidFill>
                    <a:srgbClr val="1E2B3C"/>
                  </a:solidFill>
                  <a:effectLst/>
                  <a:uLnTx/>
                  <a:uFillTx/>
                  <a:latin typeface="Arial" panose="020B0604020202020204"/>
                  <a:ea typeface="+mn-ea"/>
                  <a:cs typeface="+mn-cs"/>
                </a:endParaRPr>
              </a:p>
            </p:txBody>
          </p:sp>
          <p:sp>
            <p:nvSpPr>
              <p:cNvPr id="30" name="TekstSylinder 124">
                <a:extLst>
                  <a:ext uri="{FF2B5EF4-FFF2-40B4-BE49-F238E27FC236}">
                    <a16:creationId xmlns:a16="http://schemas.microsoft.com/office/drawing/2014/main" id="{5CD62669-F655-C984-EAE4-855EFFBBDAD3}"/>
                  </a:ext>
                </a:extLst>
              </p:cNvPr>
              <p:cNvSpPr txBox="1"/>
              <p:nvPr/>
            </p:nvSpPr>
            <p:spPr>
              <a:xfrm>
                <a:off x="1096007" y="5092786"/>
                <a:ext cx="1320200" cy="912698"/>
              </a:xfrm>
              <a:prstGeom prst="roundRect">
                <a:avLst/>
              </a:prstGeom>
              <a:solidFill>
                <a:srgbClr val="7391B9"/>
              </a:solidFill>
              <a:ln>
                <a:solidFill>
                  <a:srgbClr val="FFFFFF"/>
                </a:solid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Nye nasjonale grunndata</a:t>
                </a:r>
              </a:p>
            </p:txBody>
          </p:sp>
        </p:grpSp>
        <p:grpSp>
          <p:nvGrpSpPr>
            <p:cNvPr id="12" name="Gruppe 11">
              <a:extLst>
                <a:ext uri="{FF2B5EF4-FFF2-40B4-BE49-F238E27FC236}">
                  <a16:creationId xmlns:a16="http://schemas.microsoft.com/office/drawing/2014/main" id="{8293BE9D-438A-E93E-C99F-F6FED8D3DAB4}"/>
                </a:ext>
              </a:extLst>
            </p:cNvPr>
            <p:cNvGrpSpPr/>
            <p:nvPr/>
          </p:nvGrpSpPr>
          <p:grpSpPr>
            <a:xfrm>
              <a:off x="4088934" y="4226038"/>
              <a:ext cx="1858713" cy="1339998"/>
              <a:chOff x="1959120" y="2760059"/>
              <a:chExt cx="2004647" cy="1496505"/>
            </a:xfrm>
            <a:solidFill>
              <a:srgbClr val="D1E7F6"/>
            </a:solidFill>
          </p:grpSpPr>
          <p:sp>
            <p:nvSpPr>
              <p:cNvPr id="26" name="Ellipse 25">
                <a:extLst>
                  <a:ext uri="{FF2B5EF4-FFF2-40B4-BE49-F238E27FC236}">
                    <a16:creationId xmlns:a16="http://schemas.microsoft.com/office/drawing/2014/main" id="{D4747CE6-EA37-B874-D9F0-B7E1DA62B251}"/>
                  </a:ext>
                </a:extLst>
              </p:cNvPr>
              <p:cNvSpPr/>
              <p:nvPr/>
            </p:nvSpPr>
            <p:spPr>
              <a:xfrm>
                <a:off x="1959120" y="2760059"/>
                <a:ext cx="2004647" cy="1496505"/>
              </a:xfrm>
              <a:prstGeom prst="ellipse">
                <a:avLst/>
              </a:prstGeom>
              <a:grpFill/>
              <a:ln w="12700" cap="flat" cmpd="sng" algn="ctr">
                <a:solidFill>
                  <a:srgbClr val="1E2B3C">
                    <a:lumMod val="25000"/>
                    <a:lumOff val="75000"/>
                  </a:srgbClr>
                </a:solidFill>
                <a:prstDash val="solid"/>
                <a:miter lim="800000"/>
              </a:ln>
              <a:effectLst/>
            </p:spPr>
            <p:txBody>
              <a:bodyPr rtlCol="0"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7" name="TekstSylinder 131">
                <a:extLst>
                  <a:ext uri="{FF2B5EF4-FFF2-40B4-BE49-F238E27FC236}">
                    <a16:creationId xmlns:a16="http://schemas.microsoft.com/office/drawing/2014/main" id="{FBF3E740-DE13-3FAB-7C34-4EE6E9D0E9F0}"/>
                  </a:ext>
                </a:extLst>
              </p:cNvPr>
              <p:cNvSpPr txBox="1"/>
              <p:nvPr/>
            </p:nvSpPr>
            <p:spPr>
              <a:xfrm>
                <a:off x="2325129" y="3215923"/>
                <a:ext cx="1272618" cy="653075"/>
              </a:xfrm>
              <a:prstGeom prst="rect">
                <a:avLst/>
              </a:prstGeom>
              <a:grp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Potensielt domene</a:t>
                </a:r>
              </a:p>
            </p:txBody>
          </p:sp>
        </p:grpSp>
        <p:cxnSp>
          <p:nvCxnSpPr>
            <p:cNvPr id="13" name="Rett pilkobling 12">
              <a:extLst>
                <a:ext uri="{FF2B5EF4-FFF2-40B4-BE49-F238E27FC236}">
                  <a16:creationId xmlns:a16="http://schemas.microsoft.com/office/drawing/2014/main" id="{47D51646-CD3E-40FA-7693-A19D8CF0B146}"/>
                </a:ext>
              </a:extLst>
            </p:cNvPr>
            <p:cNvCxnSpPr>
              <a:cxnSpLocks/>
              <a:endCxn id="35" idx="0"/>
            </p:cNvCxnSpPr>
            <p:nvPr/>
          </p:nvCxnSpPr>
          <p:spPr>
            <a:xfrm>
              <a:off x="8097597" y="3326076"/>
              <a:ext cx="0" cy="2750250"/>
            </a:xfrm>
            <a:prstGeom prst="straightConnector1">
              <a:avLst/>
            </a:prstGeom>
            <a:noFill/>
            <a:ln w="6350" cap="flat" cmpd="sng" algn="ctr">
              <a:solidFill>
                <a:srgbClr val="1E2B3C"/>
              </a:solidFill>
              <a:prstDash val="solid"/>
              <a:miter lim="800000"/>
              <a:headEnd type="triangle"/>
              <a:tailEnd type="triangle"/>
            </a:ln>
            <a:effectLst/>
          </p:spPr>
        </p:cxnSp>
        <p:cxnSp>
          <p:nvCxnSpPr>
            <p:cNvPr id="14" name="Rett pilkobling 13">
              <a:extLst>
                <a:ext uri="{FF2B5EF4-FFF2-40B4-BE49-F238E27FC236}">
                  <a16:creationId xmlns:a16="http://schemas.microsoft.com/office/drawing/2014/main" id="{2E08C198-D49B-485A-1348-FC277F215373}"/>
                </a:ext>
              </a:extLst>
            </p:cNvPr>
            <p:cNvCxnSpPr>
              <a:cxnSpLocks/>
              <a:endCxn id="38" idx="0"/>
            </p:cNvCxnSpPr>
            <p:nvPr/>
          </p:nvCxnSpPr>
          <p:spPr>
            <a:xfrm>
              <a:off x="3994966" y="3326075"/>
              <a:ext cx="0" cy="2750250"/>
            </a:xfrm>
            <a:prstGeom prst="straightConnector1">
              <a:avLst/>
            </a:prstGeom>
            <a:noFill/>
            <a:ln w="6350" cap="flat" cmpd="sng" algn="ctr">
              <a:solidFill>
                <a:srgbClr val="1E2B3C"/>
              </a:solidFill>
              <a:prstDash val="solid"/>
              <a:miter lim="800000"/>
              <a:headEnd type="triangle"/>
              <a:tailEnd type="triangle"/>
            </a:ln>
            <a:effectLst/>
          </p:spPr>
        </p:cxnSp>
        <p:cxnSp>
          <p:nvCxnSpPr>
            <p:cNvPr id="15" name="Rett pilkobling 14">
              <a:extLst>
                <a:ext uri="{FF2B5EF4-FFF2-40B4-BE49-F238E27FC236}">
                  <a16:creationId xmlns:a16="http://schemas.microsoft.com/office/drawing/2014/main" id="{816D023B-5788-BD28-6D18-3D321A4A2A39}"/>
                </a:ext>
              </a:extLst>
            </p:cNvPr>
            <p:cNvCxnSpPr>
              <a:cxnSpLocks/>
              <a:endCxn id="41" idx="0"/>
            </p:cNvCxnSpPr>
            <p:nvPr/>
          </p:nvCxnSpPr>
          <p:spPr>
            <a:xfrm>
              <a:off x="6047554" y="3326071"/>
              <a:ext cx="0" cy="2750250"/>
            </a:xfrm>
            <a:prstGeom prst="straightConnector1">
              <a:avLst/>
            </a:prstGeom>
            <a:noFill/>
            <a:ln w="6350" cap="flat" cmpd="sng" algn="ctr">
              <a:solidFill>
                <a:srgbClr val="1E2B3C"/>
              </a:solidFill>
              <a:prstDash val="solid"/>
              <a:miter lim="800000"/>
              <a:headEnd type="triangle"/>
              <a:tailEnd type="triangle"/>
            </a:ln>
            <a:effectLst/>
          </p:spPr>
        </p:cxnSp>
        <p:grpSp>
          <p:nvGrpSpPr>
            <p:cNvPr id="16" name="Gruppe 15">
              <a:extLst>
                <a:ext uri="{FF2B5EF4-FFF2-40B4-BE49-F238E27FC236}">
                  <a16:creationId xmlns:a16="http://schemas.microsoft.com/office/drawing/2014/main" id="{1364D460-B2FF-8902-44A4-2BE546385D39}"/>
                </a:ext>
              </a:extLst>
            </p:cNvPr>
            <p:cNvGrpSpPr/>
            <p:nvPr/>
          </p:nvGrpSpPr>
          <p:grpSpPr>
            <a:xfrm>
              <a:off x="6145766" y="4226038"/>
              <a:ext cx="1858713" cy="1339998"/>
              <a:chOff x="1959120" y="2760059"/>
              <a:chExt cx="2004647" cy="1496505"/>
            </a:xfrm>
            <a:solidFill>
              <a:srgbClr val="D1E7F6"/>
            </a:solidFill>
          </p:grpSpPr>
          <p:sp>
            <p:nvSpPr>
              <p:cNvPr id="24" name="Ellipse 23">
                <a:extLst>
                  <a:ext uri="{FF2B5EF4-FFF2-40B4-BE49-F238E27FC236}">
                    <a16:creationId xmlns:a16="http://schemas.microsoft.com/office/drawing/2014/main" id="{445DA826-AC15-4DA7-8665-18D7CF5BFD80}"/>
                  </a:ext>
                </a:extLst>
              </p:cNvPr>
              <p:cNvSpPr/>
              <p:nvPr/>
            </p:nvSpPr>
            <p:spPr>
              <a:xfrm>
                <a:off x="1959120" y="2760059"/>
                <a:ext cx="2004647" cy="1496505"/>
              </a:xfrm>
              <a:prstGeom prst="ellipse">
                <a:avLst/>
              </a:prstGeom>
              <a:grpFill/>
              <a:ln w="12700" cap="flat" cmpd="sng" algn="ctr">
                <a:solidFill>
                  <a:srgbClr val="1E2B3C">
                    <a:lumMod val="25000"/>
                    <a:lumOff val="75000"/>
                  </a:srgbClr>
                </a:solidFill>
                <a:prstDash val="solid"/>
                <a:miter lim="800000"/>
              </a:ln>
              <a:effectLst/>
            </p:spPr>
            <p:txBody>
              <a:bodyPr rtlCol="0"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5" name="TekstSylinder 180">
                <a:extLst>
                  <a:ext uri="{FF2B5EF4-FFF2-40B4-BE49-F238E27FC236}">
                    <a16:creationId xmlns:a16="http://schemas.microsoft.com/office/drawing/2014/main" id="{B496BEEF-3DF4-C72C-3004-5A4C54F6B232}"/>
                  </a:ext>
                </a:extLst>
              </p:cNvPr>
              <p:cNvSpPr txBox="1"/>
              <p:nvPr/>
            </p:nvSpPr>
            <p:spPr>
              <a:xfrm>
                <a:off x="2325129" y="3215923"/>
                <a:ext cx="1272618" cy="653075"/>
              </a:xfrm>
              <a:prstGeom prst="rect">
                <a:avLst/>
              </a:prstGeom>
              <a:grp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Potensielt domene</a:t>
                </a:r>
              </a:p>
            </p:txBody>
          </p:sp>
        </p:grpSp>
        <p:grpSp>
          <p:nvGrpSpPr>
            <p:cNvPr id="17" name="Gruppe 16">
              <a:extLst>
                <a:ext uri="{FF2B5EF4-FFF2-40B4-BE49-F238E27FC236}">
                  <a16:creationId xmlns:a16="http://schemas.microsoft.com/office/drawing/2014/main" id="{FF823C3D-00A4-6472-45FA-E9FD928D2C08}"/>
                </a:ext>
              </a:extLst>
            </p:cNvPr>
            <p:cNvGrpSpPr/>
            <p:nvPr/>
          </p:nvGrpSpPr>
          <p:grpSpPr>
            <a:xfrm>
              <a:off x="8189018" y="4226038"/>
              <a:ext cx="1858713" cy="1339998"/>
              <a:chOff x="1959120" y="2760059"/>
              <a:chExt cx="2004647" cy="1496505"/>
            </a:xfrm>
            <a:solidFill>
              <a:srgbClr val="D1E7F6"/>
            </a:solidFill>
          </p:grpSpPr>
          <p:sp>
            <p:nvSpPr>
              <p:cNvPr id="22" name="Ellipse 21">
                <a:extLst>
                  <a:ext uri="{FF2B5EF4-FFF2-40B4-BE49-F238E27FC236}">
                    <a16:creationId xmlns:a16="http://schemas.microsoft.com/office/drawing/2014/main" id="{3FACEA53-2B37-BF1E-D4B2-DA0D8F8C714D}"/>
                  </a:ext>
                </a:extLst>
              </p:cNvPr>
              <p:cNvSpPr/>
              <p:nvPr/>
            </p:nvSpPr>
            <p:spPr>
              <a:xfrm>
                <a:off x="1959120" y="2760059"/>
                <a:ext cx="2004647" cy="1496505"/>
              </a:xfrm>
              <a:prstGeom prst="ellipse">
                <a:avLst/>
              </a:prstGeom>
              <a:grpFill/>
              <a:ln w="12700" cap="flat" cmpd="sng" algn="ctr">
                <a:solidFill>
                  <a:srgbClr val="1E2B3C">
                    <a:lumMod val="25000"/>
                    <a:lumOff val="75000"/>
                  </a:srgbClr>
                </a:solidFill>
                <a:prstDash val="solid"/>
                <a:miter lim="800000"/>
              </a:ln>
              <a:effectLst/>
            </p:spPr>
            <p:txBody>
              <a:bodyPr rtlCol="0"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3" name="TekstSylinder 183">
                <a:extLst>
                  <a:ext uri="{FF2B5EF4-FFF2-40B4-BE49-F238E27FC236}">
                    <a16:creationId xmlns:a16="http://schemas.microsoft.com/office/drawing/2014/main" id="{6FEF4FF1-29EA-08A0-F290-4539F1A64318}"/>
                  </a:ext>
                </a:extLst>
              </p:cNvPr>
              <p:cNvSpPr txBox="1"/>
              <p:nvPr/>
            </p:nvSpPr>
            <p:spPr>
              <a:xfrm>
                <a:off x="2325129" y="3215923"/>
                <a:ext cx="1272618" cy="653075"/>
              </a:xfrm>
              <a:prstGeom prst="rect">
                <a:avLst/>
              </a:prstGeom>
              <a:grp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Potensielt domene</a:t>
                </a:r>
              </a:p>
            </p:txBody>
          </p:sp>
        </p:grpSp>
        <p:grpSp>
          <p:nvGrpSpPr>
            <p:cNvPr id="18" name="Gruppe 17">
              <a:extLst>
                <a:ext uri="{FF2B5EF4-FFF2-40B4-BE49-F238E27FC236}">
                  <a16:creationId xmlns:a16="http://schemas.microsoft.com/office/drawing/2014/main" id="{8F18480B-18B0-CD26-C2ED-0402566E8DCE}"/>
                </a:ext>
              </a:extLst>
            </p:cNvPr>
            <p:cNvGrpSpPr/>
            <p:nvPr/>
          </p:nvGrpSpPr>
          <p:grpSpPr>
            <a:xfrm>
              <a:off x="10284641" y="4226038"/>
              <a:ext cx="1858713" cy="1339998"/>
              <a:chOff x="1959120" y="2760059"/>
              <a:chExt cx="2004647" cy="1496505"/>
            </a:xfrm>
            <a:solidFill>
              <a:srgbClr val="D1E7F6"/>
            </a:solidFill>
          </p:grpSpPr>
          <p:sp>
            <p:nvSpPr>
              <p:cNvPr id="20" name="Ellipse 19">
                <a:extLst>
                  <a:ext uri="{FF2B5EF4-FFF2-40B4-BE49-F238E27FC236}">
                    <a16:creationId xmlns:a16="http://schemas.microsoft.com/office/drawing/2014/main" id="{22DC500B-90E4-A23E-A05F-9031A053027A}"/>
                  </a:ext>
                </a:extLst>
              </p:cNvPr>
              <p:cNvSpPr/>
              <p:nvPr/>
            </p:nvSpPr>
            <p:spPr>
              <a:xfrm>
                <a:off x="1959120" y="2760059"/>
                <a:ext cx="2004647" cy="1496505"/>
              </a:xfrm>
              <a:prstGeom prst="ellipse">
                <a:avLst/>
              </a:prstGeom>
              <a:grpFill/>
              <a:ln w="12700" cap="flat" cmpd="sng" algn="ctr">
                <a:solidFill>
                  <a:srgbClr val="1E2B3C">
                    <a:lumMod val="25000"/>
                    <a:lumOff val="75000"/>
                  </a:srgbClr>
                </a:solidFill>
                <a:prstDash val="solid"/>
                <a:miter lim="800000"/>
              </a:ln>
              <a:effectLst/>
            </p:spPr>
            <p:txBody>
              <a:bodyPr rtlCol="0"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1" name="TekstSylinder 190">
                <a:extLst>
                  <a:ext uri="{FF2B5EF4-FFF2-40B4-BE49-F238E27FC236}">
                    <a16:creationId xmlns:a16="http://schemas.microsoft.com/office/drawing/2014/main" id="{A1B4FA09-1623-8BFA-B4FD-32AFD64CF424}"/>
                  </a:ext>
                </a:extLst>
              </p:cNvPr>
              <p:cNvSpPr txBox="1"/>
              <p:nvPr/>
            </p:nvSpPr>
            <p:spPr>
              <a:xfrm>
                <a:off x="2325129" y="3215923"/>
                <a:ext cx="1272618" cy="653075"/>
              </a:xfrm>
              <a:prstGeom prst="rect">
                <a:avLst/>
              </a:prstGeom>
              <a:grp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Potensielt domene</a:t>
                </a:r>
              </a:p>
            </p:txBody>
          </p:sp>
        </p:grpSp>
        <p:sp>
          <p:nvSpPr>
            <p:cNvPr id="19" name="Rounded Rectangle 3">
              <a:extLst>
                <a:ext uri="{FF2B5EF4-FFF2-40B4-BE49-F238E27FC236}">
                  <a16:creationId xmlns:a16="http://schemas.microsoft.com/office/drawing/2014/main" id="{6301F0C7-1D07-890E-A251-15459E5D7495}"/>
                </a:ext>
              </a:extLst>
            </p:cNvPr>
            <p:cNvSpPr/>
            <p:nvPr/>
          </p:nvSpPr>
          <p:spPr>
            <a:xfrm>
              <a:off x="3136035" y="3506687"/>
              <a:ext cx="9985509" cy="435571"/>
            </a:xfrm>
            <a:prstGeom prst="roundRect">
              <a:avLst/>
            </a:prstGeom>
            <a:solidFill>
              <a:srgbClr val="93CCFA"/>
            </a:solidFill>
            <a:ln w="6350" cap="flat" cmpd="sng" algn="ctr">
              <a:solidFill>
                <a:srgbClr val="1EACF5"/>
              </a:solidFill>
              <a:prstDash val="solid"/>
              <a:miter lim="800000"/>
            </a:ln>
            <a:effectLst/>
          </p:spPr>
          <p:txBody>
            <a:bodyPr lIns="91431" tIns="45716" rIns="91431" bIns="45716" rtlCol="0" anchor="ctr" anchorCtr="0"/>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nb-NO" sz="1400" b="1" i="0" u="none" strike="noStrike" kern="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Samhandling:</a:t>
              </a:r>
              <a:r>
                <a:rPr kumimoji="0" lang="nb-NO" sz="1400" b="0" i="0" u="none" strike="noStrike" kern="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 Organisatoriske og juridiske rammer gjennom felles prinsipper, krav og delegert ansvar for dataforvaltning</a:t>
              </a:r>
              <a:r>
                <a:rPr kumimoji="0" lang="en-US" sz="1400" b="0" i="0" u="none" strike="noStrike" kern="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rPr>
                <a:t> </a:t>
              </a:r>
              <a:endParaRPr kumimoji="0" lang="nb-NO" sz="1400" b="1" i="0" u="none" strike="noStrike" kern="0" cap="none" spc="0" normalizeH="0" baseline="0" noProof="0" dirty="0">
                <a:ln>
                  <a:noFill/>
                </a:ln>
                <a:solidFill>
                  <a:srgbClr val="1E2B3C"/>
                </a:solidFill>
                <a:effectLst/>
                <a:uLnTx/>
                <a:uFillTx/>
                <a:latin typeface="Times New Roman" panose="02020603050405020304" pitchFamily="18" charset="0"/>
                <a:ea typeface="+mn-ea"/>
                <a:cs typeface="Times New Roman" panose="02020603050405020304" pitchFamily="18" charset="0"/>
              </a:endParaRPr>
            </a:p>
          </p:txBody>
        </p:sp>
      </p:grpSp>
      <p:sp>
        <p:nvSpPr>
          <p:cNvPr id="44" name="Tittel 1">
            <a:extLst>
              <a:ext uri="{FF2B5EF4-FFF2-40B4-BE49-F238E27FC236}">
                <a16:creationId xmlns:a16="http://schemas.microsoft.com/office/drawing/2014/main" id="{205FBE44-29E4-93ED-C099-0B960162F062}"/>
              </a:ext>
            </a:extLst>
          </p:cNvPr>
          <p:cNvSpPr txBox="1">
            <a:spLocks/>
          </p:cNvSpPr>
          <p:nvPr/>
        </p:nvSpPr>
        <p:spPr>
          <a:xfrm>
            <a:off x="1588730" y="596683"/>
            <a:ext cx="14019431" cy="570867"/>
          </a:xfrm>
          <a:prstGeom prst="rect">
            <a:avLst/>
          </a:prstGeom>
        </p:spPr>
        <p:txBody>
          <a:bodyPr>
            <a:normAutofit fontScale="70000" lnSpcReduction="20000"/>
          </a:bodyPr>
          <a:lstStyle>
            <a:lvl1pPr algn="l" defTabSz="1219078" rtl="0" eaLnBrk="1" latinLnBrk="0" hangingPunct="1">
              <a:lnSpc>
                <a:spcPct val="90000"/>
              </a:lnSpc>
              <a:spcBef>
                <a:spcPct val="0"/>
              </a:spcBef>
              <a:buNone/>
              <a:defRPr sz="5866" kern="1200">
                <a:solidFill>
                  <a:schemeClr val="tx1"/>
                </a:solidFill>
                <a:latin typeface="+mj-lt"/>
                <a:ea typeface="+mj-ea"/>
                <a:cs typeface="+mj-cs"/>
              </a:defRPr>
            </a:lvl1pPr>
          </a:lstStyle>
          <a:p>
            <a:pPr marL="0" marR="0" lvl="0" indent="0" algn="ctr" defTabSz="1219078" rtl="0" eaLnBrk="1" fontAlgn="auto" latinLnBrk="0" hangingPunct="1">
              <a:lnSpc>
                <a:spcPct val="90000"/>
              </a:lnSpc>
              <a:spcBef>
                <a:spcPct val="0"/>
              </a:spcBef>
              <a:spcAft>
                <a:spcPts val="0"/>
              </a:spcAft>
              <a:buClrTx/>
              <a:buSzTx/>
              <a:buFontTx/>
              <a:buNone/>
              <a:tabLst/>
              <a:defRPr/>
            </a:pPr>
            <a:r>
              <a:rPr kumimoji="0" lang="nb-NO" sz="5866" b="1" i="0" u="none" strike="noStrike" kern="1200" cap="none" spc="0" normalizeH="0" baseline="0" noProof="0" dirty="0">
                <a:ln>
                  <a:noFill/>
                </a:ln>
                <a:solidFill>
                  <a:srgbClr val="1E2B3C"/>
                </a:solidFill>
                <a:effectLst/>
                <a:uLnTx/>
                <a:uFillTx/>
                <a:latin typeface="Calibri Light" panose="020F0302020204030204"/>
                <a:ea typeface="+mj-ea"/>
                <a:cs typeface="+mj-cs"/>
              </a:rPr>
              <a:t>Utkast til roller i rammeverket etter utprøving i caser</a:t>
            </a:r>
          </a:p>
        </p:txBody>
      </p:sp>
    </p:spTree>
    <p:extLst>
      <p:ext uri="{BB962C8B-B14F-4D97-AF65-F5344CB8AC3E}">
        <p14:creationId xmlns:p14="http://schemas.microsoft.com/office/powerpoint/2010/main" val="32038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F47B9F-2768-AC6E-9274-758780143236}"/>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D1C79F06-4725-84D9-D034-0EEE27C4BDF4}"/>
              </a:ext>
            </a:extLst>
          </p:cNvPr>
          <p:cNvSpPr/>
          <p:nvPr/>
        </p:nvSpPr>
        <p:spPr>
          <a:xfrm>
            <a:off x="-1" y="447"/>
            <a:ext cx="16254413" cy="9143107"/>
          </a:xfrm>
          <a:prstGeom prst="rect">
            <a:avLst/>
          </a:prstGeom>
          <a:solidFill>
            <a:srgbClr val="E5A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149949" rtl="0" eaLnBrk="1" fontAlgn="auto" latinLnBrk="0" hangingPunct="1">
              <a:lnSpc>
                <a:spcPct val="100000"/>
              </a:lnSpc>
              <a:spcBef>
                <a:spcPts val="0"/>
              </a:spcBef>
              <a:spcAft>
                <a:spcPts val="0"/>
              </a:spcAft>
              <a:buClrTx/>
              <a:buSzTx/>
              <a:buFontTx/>
              <a:buNone/>
              <a:tabLst/>
              <a:defRPr/>
            </a:pPr>
            <a:endParaRPr kumimoji="0" lang="nb-NO" sz="301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1D9A364D-4090-C588-515E-97103EFB9AE4}"/>
              </a:ext>
            </a:extLst>
          </p:cNvPr>
          <p:cNvSpPr>
            <a:spLocks noGrp="1"/>
          </p:cNvSpPr>
          <p:nvPr>
            <p:ph type="title"/>
          </p:nvPr>
        </p:nvSpPr>
        <p:spPr>
          <a:xfrm>
            <a:off x="1058238" y="4105835"/>
            <a:ext cx="14825609" cy="932329"/>
          </a:xfrm>
        </p:spPr>
        <p:txBody>
          <a:bodyPr>
            <a:noAutofit/>
          </a:bodyPr>
          <a:lstStyle/>
          <a:p>
            <a:pPr algn="ctr"/>
            <a:r>
              <a:rPr lang="nb-NO" sz="5400" dirty="0"/>
              <a:t>Del 2:Kriterier og prinsipper for nasjonale grunndata </a:t>
            </a:r>
          </a:p>
        </p:txBody>
      </p:sp>
    </p:spTree>
    <p:extLst>
      <p:ext uri="{BB962C8B-B14F-4D97-AF65-F5344CB8AC3E}">
        <p14:creationId xmlns:p14="http://schemas.microsoft.com/office/powerpoint/2010/main" val="1098788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5D28A6F7-EBE0-7F0D-86DF-9BC5BA7B54EC}"/>
              </a:ext>
            </a:extLst>
          </p:cNvPr>
          <p:cNvSpPr/>
          <p:nvPr/>
        </p:nvSpPr>
        <p:spPr>
          <a:xfrm>
            <a:off x="13716000" y="641445"/>
            <a:ext cx="1255594" cy="4913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0A7E07BC-9631-1340-AAFA-FCDC0F03ED77}"/>
              </a:ext>
            </a:extLst>
          </p:cNvPr>
          <p:cNvSpPr>
            <a:spLocks noGrp="1"/>
          </p:cNvSpPr>
          <p:nvPr>
            <p:ph type="title"/>
          </p:nvPr>
        </p:nvSpPr>
        <p:spPr>
          <a:xfrm>
            <a:off x="1401193" y="3133471"/>
            <a:ext cx="4844954" cy="2877058"/>
          </a:xfrm>
        </p:spPr>
        <p:txBody>
          <a:bodyPr anchor="ctr"/>
          <a:lstStyle/>
          <a:p>
            <a:r>
              <a:rPr lang="nb-NO" sz="3200" b="1" dirty="0">
                <a:latin typeface="Arial" panose="020B0604020202020204" pitchFamily="34" charset="0"/>
                <a:cs typeface="Arial" panose="020B0604020202020204" pitchFamily="34" charset="0"/>
              </a:rPr>
              <a:t>Kriterier</a:t>
            </a:r>
            <a:endParaRPr lang="nb-NO" sz="3200" dirty="0"/>
          </a:p>
        </p:txBody>
      </p:sp>
      <p:graphicFrame>
        <p:nvGraphicFramePr>
          <p:cNvPr id="8" name="Tabell 7">
            <a:extLst>
              <a:ext uri="{FF2B5EF4-FFF2-40B4-BE49-F238E27FC236}">
                <a16:creationId xmlns:a16="http://schemas.microsoft.com/office/drawing/2014/main" id="{5BDB134F-C229-0B75-57FD-EF5DCB02844A}"/>
              </a:ext>
            </a:extLst>
          </p:cNvPr>
          <p:cNvGraphicFramePr>
            <a:graphicFrameLocks noGrp="1"/>
          </p:cNvGraphicFramePr>
          <p:nvPr>
            <p:extLst>
              <p:ext uri="{D42A27DB-BD31-4B8C-83A1-F6EECF244321}">
                <p14:modId xmlns:p14="http://schemas.microsoft.com/office/powerpoint/2010/main" val="2604911587"/>
              </p:ext>
            </p:extLst>
          </p:nvPr>
        </p:nvGraphicFramePr>
        <p:xfrm>
          <a:off x="5663822" y="2733929"/>
          <a:ext cx="10290412" cy="4640304"/>
        </p:xfrm>
        <a:graphic>
          <a:graphicData uri="http://schemas.openxmlformats.org/drawingml/2006/table">
            <a:tbl>
              <a:tblPr bandRow="1">
                <a:tableStyleId>{5C22544A-7EE6-4342-B048-85BDC9FD1C3A}</a:tableStyleId>
              </a:tblPr>
              <a:tblGrid>
                <a:gridCol w="10290412">
                  <a:extLst>
                    <a:ext uri="{9D8B030D-6E8A-4147-A177-3AD203B41FA5}">
                      <a16:colId xmlns:a16="http://schemas.microsoft.com/office/drawing/2014/main" val="3326829245"/>
                    </a:ext>
                  </a:extLst>
                </a:gridCol>
              </a:tblGrid>
              <a:tr h="585414">
                <a:tc>
                  <a:txBody>
                    <a:bodyPr/>
                    <a:lstStyle/>
                    <a:p>
                      <a:pPr marL="0" marR="0" lvl="0" indent="0" algn="l" defTabSz="914223" rtl="0" eaLnBrk="1" fontAlgn="auto" latinLnBrk="0" hangingPunct="1">
                        <a:lnSpc>
                          <a:spcPct val="100000"/>
                        </a:lnSpc>
                        <a:spcBef>
                          <a:spcPts val="0"/>
                        </a:spcBef>
                        <a:spcAft>
                          <a:spcPts val="0"/>
                        </a:spcAft>
                        <a:buClrTx/>
                        <a:buSzTx/>
                        <a:buFontTx/>
                        <a:buNone/>
                        <a:tabLst/>
                        <a:defRPr/>
                      </a:pPr>
                      <a:r>
                        <a:rPr lang="nb-NO" sz="2400" b="0" i="0" dirty="0">
                          <a:solidFill>
                            <a:schemeClr val="tx1"/>
                          </a:solidFill>
                          <a:latin typeface="Arial" panose="020B0604020202020204" pitchFamily="34" charset="0"/>
                          <a:cs typeface="Arial" panose="020B0604020202020204" pitchFamily="34" charset="0"/>
                        </a:rPr>
                        <a:t>1. Andre aktører er avhengige av dataene for å løse sitt samfunnsoppdrag</a:t>
                      </a:r>
                    </a:p>
                  </a:txBody>
                  <a:tcPr anchor="ctr"/>
                </a:tc>
                <a:extLst>
                  <a:ext uri="{0D108BD9-81ED-4DB2-BD59-A6C34878D82A}">
                    <a16:rowId xmlns:a16="http://schemas.microsoft.com/office/drawing/2014/main" val="1510044455"/>
                  </a:ext>
                </a:extLst>
              </a:tr>
              <a:tr h="585414">
                <a:tc>
                  <a:txBody>
                    <a:bodyPr/>
                    <a:lstStyle/>
                    <a:p>
                      <a:r>
                        <a:rPr lang="nb-NO" sz="2400" b="0" i="0" strike="noStrike" dirty="0">
                          <a:solidFill>
                            <a:schemeClr val="tx1"/>
                          </a:solidFill>
                          <a:latin typeface="Arial" panose="020B0604020202020204" pitchFamily="34" charset="0"/>
                          <a:cs typeface="Arial" panose="020B0604020202020204" pitchFamily="34" charset="0"/>
                        </a:rPr>
                        <a:t>2. Gir verdi på tvers av sektorer</a:t>
                      </a:r>
                    </a:p>
                  </a:txBody>
                  <a:tcPr anchor="ctr"/>
                </a:tc>
                <a:extLst>
                  <a:ext uri="{0D108BD9-81ED-4DB2-BD59-A6C34878D82A}">
                    <a16:rowId xmlns:a16="http://schemas.microsoft.com/office/drawing/2014/main" val="1046203048"/>
                  </a:ext>
                </a:extLst>
              </a:tr>
              <a:tr h="585414">
                <a:tc>
                  <a:txBody>
                    <a:bodyPr/>
                    <a:lstStyle/>
                    <a:p>
                      <a:r>
                        <a:rPr lang="nb-NO" sz="2400" b="0" i="0" dirty="0">
                          <a:solidFill>
                            <a:schemeClr val="tx1"/>
                          </a:solidFill>
                          <a:latin typeface="Arial" panose="020B0604020202020204" pitchFamily="34" charset="0"/>
                          <a:cs typeface="Arial" panose="020B0604020202020204" pitchFamily="34" charset="0"/>
                        </a:rPr>
                        <a:t>3. Dataene dekker et behov for mange konsumenter</a:t>
                      </a:r>
                    </a:p>
                  </a:txBody>
                  <a:tcPr anchor="ctr"/>
                </a:tc>
                <a:extLst>
                  <a:ext uri="{0D108BD9-81ED-4DB2-BD59-A6C34878D82A}">
                    <a16:rowId xmlns:a16="http://schemas.microsoft.com/office/drawing/2014/main" val="3435571727"/>
                  </a:ext>
                </a:extLst>
              </a:tr>
              <a:tr h="2884062">
                <a:tc>
                  <a:txBody>
                    <a:bodyPr/>
                    <a:lstStyle/>
                    <a:p>
                      <a:pPr marL="0" lvl="0" indent="0">
                        <a:lnSpc>
                          <a:spcPct val="115000"/>
                        </a:lnSpc>
                        <a:buFont typeface="Calibri" panose="020F0502020204030204" pitchFamily="34" charset="0"/>
                        <a:buNone/>
                      </a:pPr>
                      <a:r>
                        <a:rPr lang="nb-NO" sz="2400" b="0" i="0" dirty="0">
                          <a:solidFill>
                            <a:schemeClr val="tx1"/>
                          </a:solidFill>
                          <a:latin typeface="Arial" panose="020B0604020202020204" pitchFamily="34" charset="0"/>
                          <a:cs typeface="Arial" panose="020B0604020202020204" pitchFamily="34" charset="0"/>
                        </a:rPr>
                        <a:t>4. Dataene er en autoritativ kilde </a:t>
                      </a:r>
                      <a:r>
                        <a:rPr lang="nb-NO" sz="2400" i="0" dirty="0">
                          <a:solidFill>
                            <a:schemeClr val="tx1"/>
                          </a:solidFill>
                          <a:effectLst/>
                          <a:latin typeface="Arial" panose="020B0604020202020204" pitchFamily="34" charset="0"/>
                          <a:ea typeface="Yu Mincho" panose="02020400000000000000" pitchFamily="18" charset="-128"/>
                          <a:cs typeface="Arial" panose="020B0604020202020204" pitchFamily="34" charset="0"/>
                        </a:rPr>
                        <a:t>som innebærer at de svarer ut en av fire krav nedenfor:</a:t>
                      </a:r>
                      <a:endParaRPr lang="nb-NO" sz="2400" b="0" i="0" dirty="0">
                        <a:solidFill>
                          <a:schemeClr val="tx1"/>
                        </a:solidFill>
                        <a:latin typeface="Arial" panose="020B0604020202020204" pitchFamily="34" charset="0"/>
                        <a:cs typeface="Arial" panose="020B0604020202020204" pitchFamily="34" charset="0"/>
                      </a:endParaRPr>
                    </a:p>
                    <a:p>
                      <a:pPr marL="800012" marR="0" lvl="1" indent="-342900" algn="l" defTabSz="914223" rtl="0" eaLnBrk="1" fontAlgn="auto" latinLnBrk="0" hangingPunct="1">
                        <a:lnSpc>
                          <a:spcPct val="100000"/>
                        </a:lnSpc>
                        <a:spcBef>
                          <a:spcPts val="0"/>
                        </a:spcBef>
                        <a:spcAft>
                          <a:spcPts val="0"/>
                        </a:spcAft>
                        <a:buClrTx/>
                        <a:buSzTx/>
                        <a:buFontTx/>
                        <a:buChar char="-"/>
                        <a:tabLst/>
                        <a:defRPr/>
                      </a:pPr>
                      <a:r>
                        <a:rPr lang="nb-NO" sz="2400" b="0" i="1" dirty="0">
                          <a:solidFill>
                            <a:schemeClr val="tx1"/>
                          </a:solidFill>
                          <a:latin typeface="Arial" panose="020B0604020202020204" pitchFamily="34" charset="0"/>
                          <a:cs typeface="Arial" panose="020B0604020202020204" pitchFamily="34" charset="0"/>
                        </a:rPr>
                        <a:t>Finnes flere kilder, hvorav en av kildene har bedre kvalitet/større brukergruppe</a:t>
                      </a:r>
                    </a:p>
                    <a:p>
                      <a:pPr marL="800012" lvl="1" indent="-342900">
                        <a:buFontTx/>
                        <a:buChar char="-"/>
                      </a:pPr>
                      <a:r>
                        <a:rPr lang="nb-NO" sz="2400" b="0" i="1" dirty="0">
                          <a:solidFill>
                            <a:schemeClr val="tx1"/>
                          </a:solidFill>
                          <a:latin typeface="Arial" panose="020B0604020202020204" pitchFamily="34" charset="0"/>
                          <a:cs typeface="Arial" panose="020B0604020202020204" pitchFamily="34" charset="0"/>
                        </a:rPr>
                        <a:t>Eksisterer regelverk som pålegger aktører å benytte disse dataene</a:t>
                      </a:r>
                    </a:p>
                    <a:p>
                      <a:pPr marL="800012" marR="0" lvl="1" indent="-342900" algn="l" defTabSz="1218963" rtl="0" eaLnBrk="1" fontAlgn="auto" latinLnBrk="0" hangingPunct="1">
                        <a:lnSpc>
                          <a:spcPct val="100000"/>
                        </a:lnSpc>
                        <a:spcBef>
                          <a:spcPts val="0"/>
                        </a:spcBef>
                        <a:spcAft>
                          <a:spcPts val="0"/>
                        </a:spcAft>
                        <a:buClrTx/>
                        <a:buSzTx/>
                        <a:buFontTx/>
                        <a:buChar char="-"/>
                        <a:tabLst/>
                        <a:defRPr/>
                      </a:pPr>
                      <a:r>
                        <a:rPr lang="nb-NO" sz="2400" b="0" i="1" dirty="0">
                          <a:solidFill>
                            <a:schemeClr val="tx1"/>
                          </a:solidFill>
                          <a:latin typeface="Arial" panose="020B0604020202020204" pitchFamily="34" charset="0"/>
                          <a:cs typeface="Arial" panose="020B0604020202020204" pitchFamily="34" charset="0"/>
                        </a:rPr>
                        <a:t>Data som brukere anser at bør være autoritativ kilde</a:t>
                      </a:r>
                    </a:p>
                    <a:p>
                      <a:pPr marL="800012" lvl="1" indent="-342900">
                        <a:buFontTx/>
                        <a:buChar char="-"/>
                      </a:pPr>
                      <a:r>
                        <a:rPr lang="nb-NO" sz="2400" b="0" i="1" dirty="0">
                          <a:solidFill>
                            <a:schemeClr val="tx1"/>
                          </a:solidFill>
                          <a:latin typeface="Arial" panose="020B0604020202020204" pitchFamily="34" charset="0"/>
                          <a:cs typeface="Arial" panose="020B0604020202020204" pitchFamily="34" charset="0"/>
                        </a:rPr>
                        <a:t>Er eneste eksisterende kilde</a:t>
                      </a:r>
                    </a:p>
                  </a:txBody>
                  <a:tcPr/>
                </a:tc>
                <a:extLst>
                  <a:ext uri="{0D108BD9-81ED-4DB2-BD59-A6C34878D82A}">
                    <a16:rowId xmlns:a16="http://schemas.microsoft.com/office/drawing/2014/main" val="1783643002"/>
                  </a:ext>
                </a:extLst>
              </a:tr>
            </a:tbl>
          </a:graphicData>
        </a:graphic>
      </p:graphicFrame>
    </p:spTree>
    <p:extLst>
      <p:ext uri="{BB962C8B-B14F-4D97-AF65-F5344CB8AC3E}">
        <p14:creationId xmlns:p14="http://schemas.microsoft.com/office/powerpoint/2010/main" val="1887745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3C3A84-0946-73C7-ED20-2505785A4FC0}"/>
            </a:ext>
          </a:extLst>
        </p:cNvPr>
        <p:cNvGrpSpPr/>
        <p:nvPr/>
      </p:nvGrpSpPr>
      <p:grpSpPr>
        <a:xfrm>
          <a:off x="0" y="0"/>
          <a:ext cx="0" cy="0"/>
          <a:chOff x="0" y="0"/>
          <a:chExt cx="0" cy="0"/>
        </a:xfrm>
      </p:grpSpPr>
      <p:sp>
        <p:nvSpPr>
          <p:cNvPr id="5" name="Rektangel 4">
            <a:extLst>
              <a:ext uri="{FF2B5EF4-FFF2-40B4-BE49-F238E27FC236}">
                <a16:creationId xmlns:a16="http://schemas.microsoft.com/office/drawing/2014/main" id="{D9149297-7A49-C327-8409-695B4E8A298D}"/>
              </a:ext>
            </a:extLst>
          </p:cNvPr>
          <p:cNvSpPr/>
          <p:nvPr/>
        </p:nvSpPr>
        <p:spPr>
          <a:xfrm>
            <a:off x="13716000" y="641445"/>
            <a:ext cx="1255594" cy="4913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Plassholder for innhold 2">
            <a:extLst>
              <a:ext uri="{FF2B5EF4-FFF2-40B4-BE49-F238E27FC236}">
                <a16:creationId xmlns:a16="http://schemas.microsoft.com/office/drawing/2014/main" id="{BF7FD253-ADA2-A206-0CA4-F6DBAC1153E9}"/>
              </a:ext>
            </a:extLst>
          </p:cNvPr>
          <p:cNvSpPr>
            <a:spLocks noGrp="1"/>
          </p:cNvSpPr>
          <p:nvPr>
            <p:ph idx="1"/>
          </p:nvPr>
        </p:nvSpPr>
        <p:spPr>
          <a:xfrm>
            <a:off x="5768476" y="518615"/>
            <a:ext cx="10226700" cy="8447964"/>
          </a:xfrm>
        </p:spPr>
        <p:txBody>
          <a:bodyPr>
            <a:normAutofit fontScale="55000" lnSpcReduction="20000"/>
          </a:bodyPr>
          <a:lstStyle/>
          <a:p>
            <a:pPr marL="742950" lvl="0" indent="-742950">
              <a:buClr>
                <a:schemeClr val="tx1">
                  <a:lumMod val="90000"/>
                  <a:lumOff val="10000"/>
                </a:schemeClr>
              </a:buClr>
              <a:buFont typeface="+mj-lt"/>
              <a:buAutoNum type="arabicPeriod"/>
            </a:pPr>
            <a:r>
              <a:rPr lang="nb-NO" dirty="0"/>
              <a:t>Ta utgangspunkt i brukernes behov</a:t>
            </a:r>
            <a:endParaRPr lang="en-US" dirty="0"/>
          </a:p>
          <a:p>
            <a:pPr lvl="1">
              <a:buClr>
                <a:schemeClr val="tx1">
                  <a:lumMod val="90000"/>
                  <a:lumOff val="10000"/>
                </a:schemeClr>
              </a:buClr>
              <a:buFont typeface="Arial" panose="020B0604020202020204" pitchFamily="34" charset="0"/>
              <a:buChar char="–"/>
            </a:pPr>
            <a:r>
              <a:rPr lang="nb-NO" dirty="0"/>
              <a:t>Hvilke data som får status som nasjonale grunndata skal være basert på brukerbehov. Nasjonale grunndata er data som er særlig viktig for samfunnet og mange har behov for.</a:t>
            </a:r>
            <a:endParaRPr lang="en-US" dirty="0"/>
          </a:p>
          <a:p>
            <a:pPr marL="742950" indent="-742950">
              <a:buClr>
                <a:schemeClr val="tx1">
                  <a:lumMod val="90000"/>
                  <a:lumOff val="10000"/>
                </a:schemeClr>
              </a:buClr>
              <a:buFont typeface="+mj-lt"/>
              <a:buAutoNum type="arabicPeriod"/>
            </a:pPr>
            <a:r>
              <a:rPr lang="nb-NO" dirty="0"/>
              <a:t>Ta arkitekturbeslutninger på rett nivå</a:t>
            </a:r>
            <a:endParaRPr lang="en-US" dirty="0"/>
          </a:p>
          <a:p>
            <a:pPr lvl="1">
              <a:buClr>
                <a:schemeClr val="tx1">
                  <a:lumMod val="90000"/>
                  <a:lumOff val="10000"/>
                </a:schemeClr>
              </a:buClr>
              <a:buFont typeface="Arial" panose="020B0604020202020204" pitchFamily="34" charset="0"/>
              <a:buChar char="–"/>
            </a:pPr>
            <a:r>
              <a:rPr lang="nb-NO" dirty="0"/>
              <a:t>For nasjonale grunndata er det spesifisert forskjellige roller som har forskjellig ansvar. Grunndataforvalter og nasjonal grunndatakoordinator</a:t>
            </a:r>
            <a:endParaRPr lang="en-US" dirty="0"/>
          </a:p>
          <a:p>
            <a:pPr marL="742950" indent="-742950">
              <a:buClr>
                <a:schemeClr val="tx1">
                  <a:lumMod val="90000"/>
                  <a:lumOff val="10000"/>
                </a:schemeClr>
              </a:buClr>
              <a:buFont typeface="+mj-lt"/>
              <a:buAutoNum type="arabicPeriod"/>
            </a:pPr>
            <a:r>
              <a:rPr lang="nb-NO" dirty="0"/>
              <a:t>Bidra til digitaliseringsvennlige regelverk</a:t>
            </a:r>
            <a:endParaRPr lang="en-US" dirty="0"/>
          </a:p>
          <a:p>
            <a:pPr lvl="1">
              <a:buClr>
                <a:schemeClr val="tx1">
                  <a:lumMod val="90000"/>
                  <a:lumOff val="10000"/>
                </a:schemeClr>
              </a:buClr>
              <a:buFont typeface="Arial" panose="020B0604020202020204" pitchFamily="34" charset="0"/>
              <a:buChar char="–"/>
            </a:pPr>
            <a:r>
              <a:rPr lang="nb-NO" b="0" i="0" dirty="0"/>
              <a:t>Arbeidet med nasjonale grunndata vil bidra til å identifisere juridiske barrierer for samhandling og digitalisering, og bidra til å kunne igangsette lov- og forskriftsendringer</a:t>
            </a:r>
            <a:endParaRPr lang="en-US" dirty="0"/>
          </a:p>
          <a:p>
            <a:pPr marL="742950" indent="-742950">
              <a:buClr>
                <a:schemeClr val="tx1">
                  <a:lumMod val="90000"/>
                  <a:lumOff val="10000"/>
                </a:schemeClr>
              </a:buClr>
              <a:buFont typeface="+mj-lt"/>
              <a:buAutoNum type="arabicPeriod"/>
            </a:pPr>
            <a:r>
              <a:rPr lang="nb-NO" sz="4400" b="1" dirty="0"/>
              <a:t>Del og gjenbruk data</a:t>
            </a:r>
            <a:endParaRPr lang="en-US" sz="4400" dirty="0"/>
          </a:p>
          <a:p>
            <a:pPr lvl="1">
              <a:buClr>
                <a:schemeClr val="tx1">
                  <a:lumMod val="90000"/>
                  <a:lumOff val="10000"/>
                </a:schemeClr>
              </a:buClr>
              <a:buFont typeface="Arial" panose="020B0604020202020204" pitchFamily="34" charset="0"/>
              <a:buChar char="–"/>
            </a:pPr>
            <a:r>
              <a:rPr lang="nb-NO" sz="3600" b="1" dirty="0"/>
              <a:t>Nasjonale grunndata vil bidra til at det blir enklere og dele og gjenbruke data (se neste slides)</a:t>
            </a:r>
            <a:endParaRPr lang="en-US" sz="3600" dirty="0"/>
          </a:p>
          <a:p>
            <a:pPr marL="742950" indent="-742950">
              <a:buClr>
                <a:schemeClr val="tx1">
                  <a:lumMod val="90000"/>
                  <a:lumOff val="10000"/>
                </a:schemeClr>
              </a:buClr>
              <a:buFont typeface="+mj-lt"/>
              <a:buAutoNum type="arabicPeriod"/>
            </a:pPr>
            <a:r>
              <a:rPr lang="nb-NO" dirty="0"/>
              <a:t>Del og gjenbruk løsninger</a:t>
            </a:r>
            <a:endParaRPr lang="en-US" dirty="0"/>
          </a:p>
          <a:p>
            <a:pPr lvl="1">
              <a:buClr>
                <a:schemeClr val="tx1">
                  <a:lumMod val="90000"/>
                  <a:lumOff val="10000"/>
                </a:schemeClr>
              </a:buClr>
              <a:buFont typeface="Arial" panose="020B0604020202020204" pitchFamily="34" charset="0"/>
              <a:buChar char="–"/>
            </a:pPr>
            <a:r>
              <a:rPr lang="nb-NO" dirty="0"/>
              <a:t>Nasjonale grunndata vil blant annet bidra til økt standardisering, gjenbruk av informasjonsmodeller, samarbeid rundt begrepsarbeid osv.</a:t>
            </a:r>
            <a:endParaRPr lang="en-US" dirty="0"/>
          </a:p>
          <a:p>
            <a:pPr marL="742950" indent="-742950">
              <a:buClr>
                <a:schemeClr val="tx1">
                  <a:lumMod val="90000"/>
                  <a:lumOff val="10000"/>
                </a:schemeClr>
              </a:buClr>
              <a:buFont typeface="+mj-lt"/>
              <a:buAutoNum type="arabicPeriod"/>
            </a:pPr>
            <a:r>
              <a:rPr lang="nb-NO" dirty="0"/>
              <a:t>Lag digitale løsninger som støtter samhandling</a:t>
            </a:r>
            <a:endParaRPr lang="en-US" dirty="0"/>
          </a:p>
          <a:p>
            <a:pPr lvl="1">
              <a:buClr>
                <a:schemeClr val="tx1">
                  <a:lumMod val="90000"/>
                  <a:lumOff val="10000"/>
                </a:schemeClr>
              </a:buClr>
              <a:buFont typeface="Arial" panose="020B0604020202020204" pitchFamily="34" charset="0"/>
              <a:buChar char="–"/>
            </a:pPr>
            <a:r>
              <a:rPr lang="nb-NO" dirty="0"/>
              <a:t>Rammeverket for nasjonale grunndata vil bidra til</a:t>
            </a:r>
            <a:r>
              <a:rPr lang="nb-NO" b="0" i="0" dirty="0"/>
              <a:t> juridisk, organisatorisk, semantisk og teknisk samhandlingsevne. Dette innebærer blant annet standardisering, avtaler og felles begrepsapparat</a:t>
            </a:r>
            <a:endParaRPr lang="en-US" dirty="0"/>
          </a:p>
          <a:p>
            <a:pPr marL="742950" indent="-742950">
              <a:buClr>
                <a:schemeClr val="tx1">
                  <a:lumMod val="90000"/>
                  <a:lumOff val="10000"/>
                </a:schemeClr>
              </a:buClr>
              <a:buFont typeface="+mj-lt"/>
              <a:buAutoNum type="arabicPeriod"/>
            </a:pPr>
            <a:r>
              <a:rPr lang="nb-NO" dirty="0"/>
              <a:t>Sørg for tillit til oppgaveløsningen</a:t>
            </a:r>
            <a:endParaRPr lang="en-US" dirty="0"/>
          </a:p>
          <a:p>
            <a:pPr lvl="1">
              <a:buClr>
                <a:schemeClr val="tx1">
                  <a:lumMod val="90000"/>
                  <a:lumOff val="10000"/>
                </a:schemeClr>
              </a:buClr>
              <a:buFont typeface="Arial" panose="020B0604020202020204" pitchFamily="34" charset="0"/>
              <a:buChar char="–"/>
            </a:pPr>
            <a:r>
              <a:rPr lang="nb-NO" dirty="0"/>
              <a:t>Rammeverk for nasjonale grunndata kan bidra til </a:t>
            </a:r>
            <a:r>
              <a:rPr lang="nb-NO" b="0" i="0" dirty="0"/>
              <a:t>etterlevelse av regelverket og ivareta krav til rettssikkerhet, effektivitet, informasjonssikkerhet og personvern.</a:t>
            </a:r>
            <a:endParaRPr lang="en-US" dirty="0"/>
          </a:p>
          <a:p>
            <a:pPr marL="0" indent="0">
              <a:buNone/>
            </a:pPr>
            <a:endParaRPr lang="nb-NO" dirty="0"/>
          </a:p>
        </p:txBody>
      </p:sp>
      <p:sp>
        <p:nvSpPr>
          <p:cNvPr id="2" name="Tittel 1">
            <a:extLst>
              <a:ext uri="{FF2B5EF4-FFF2-40B4-BE49-F238E27FC236}">
                <a16:creationId xmlns:a16="http://schemas.microsoft.com/office/drawing/2014/main" id="{2CD3634F-7014-9D41-F823-8AEBEE3BC590}"/>
              </a:ext>
            </a:extLst>
          </p:cNvPr>
          <p:cNvSpPr>
            <a:spLocks noGrp="1"/>
          </p:cNvSpPr>
          <p:nvPr>
            <p:ph type="title"/>
          </p:nvPr>
        </p:nvSpPr>
        <p:spPr>
          <a:xfrm>
            <a:off x="923522" y="3133471"/>
            <a:ext cx="4844954" cy="2877058"/>
          </a:xfrm>
        </p:spPr>
        <p:txBody>
          <a:bodyPr anchor="ctr"/>
          <a:lstStyle/>
          <a:p>
            <a:r>
              <a:rPr lang="nb-NO" sz="3200" b="1" dirty="0">
                <a:latin typeface="Arial" panose="020B0604020202020204" pitchFamily="34" charset="0"/>
                <a:cs typeface="Arial" panose="020B0604020202020204" pitchFamily="34" charset="0"/>
              </a:rPr>
              <a:t>Overordnede arkitekturprinsippene</a:t>
            </a:r>
            <a:endParaRPr lang="nb-NO" sz="3200" dirty="0"/>
          </a:p>
        </p:txBody>
      </p:sp>
    </p:spTree>
    <p:extLst>
      <p:ext uri="{BB962C8B-B14F-4D97-AF65-F5344CB8AC3E}">
        <p14:creationId xmlns:p14="http://schemas.microsoft.com/office/powerpoint/2010/main" val="7120488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2AA9F-1563-E5EF-E0F3-4724916D57EF}"/>
              </a:ext>
            </a:extLst>
          </p:cNvPr>
          <p:cNvSpPr>
            <a:spLocks noGrp="1"/>
          </p:cNvSpPr>
          <p:nvPr>
            <p:ph type="title"/>
          </p:nvPr>
        </p:nvSpPr>
        <p:spPr>
          <a:xfrm>
            <a:off x="2364232" y="1480956"/>
            <a:ext cx="12295197" cy="692497"/>
          </a:xfrm>
        </p:spPr>
        <p:txBody>
          <a:bodyPr anchor="b">
            <a:normAutofit/>
          </a:bodyPr>
          <a:lstStyle/>
          <a:p>
            <a:r>
              <a:rPr lang="en-US" dirty="0" err="1"/>
              <a:t>Formål</a:t>
            </a:r>
            <a:endParaRPr lang="en-US" dirty="0"/>
          </a:p>
        </p:txBody>
      </p:sp>
      <p:graphicFrame>
        <p:nvGraphicFramePr>
          <p:cNvPr id="5" name="Content Placeholder 2">
            <a:extLst>
              <a:ext uri="{FF2B5EF4-FFF2-40B4-BE49-F238E27FC236}">
                <a16:creationId xmlns:a16="http://schemas.microsoft.com/office/drawing/2014/main" id="{C9D4AFAC-93D8-EC81-EC46-E0256FECBBAE}"/>
              </a:ext>
            </a:extLst>
          </p:cNvPr>
          <p:cNvGraphicFramePr>
            <a:graphicFrameLocks noGrp="1"/>
          </p:cNvGraphicFramePr>
          <p:nvPr>
            <p:ph idx="1"/>
          </p:nvPr>
        </p:nvGraphicFramePr>
        <p:xfrm>
          <a:off x="2434113" y="2104190"/>
          <a:ext cx="11400716" cy="5876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Bilde 3" descr="Et bilde som inneholder tekst&#10;&#10;Automatisk generert beskrivelse">
            <a:extLst>
              <a:ext uri="{FF2B5EF4-FFF2-40B4-BE49-F238E27FC236}">
                <a16:creationId xmlns:a16="http://schemas.microsoft.com/office/drawing/2014/main" id="{BED8EB73-4938-B1E3-3CB4-84282F7FCEC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17518"/>
          <a:stretch/>
        </p:blipFill>
        <p:spPr>
          <a:xfrm>
            <a:off x="1905001" y="0"/>
            <a:ext cx="2819400" cy="1308100"/>
          </a:xfrm>
          <a:prstGeom prst="rect">
            <a:avLst/>
          </a:prstGeom>
        </p:spPr>
      </p:pic>
    </p:spTree>
    <p:extLst>
      <p:ext uri="{BB962C8B-B14F-4D97-AF65-F5344CB8AC3E}">
        <p14:creationId xmlns:p14="http://schemas.microsoft.com/office/powerpoint/2010/main" val="42672204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D60FC3CB-88E4-BE4C-AD26-9B80AD3AB0BA}"/>
              </a:ext>
            </a:extLst>
          </p:cNvPr>
          <p:cNvSpPr/>
          <p:nvPr/>
        </p:nvSpPr>
        <p:spPr>
          <a:xfrm>
            <a:off x="1587" y="1800541"/>
            <a:ext cx="16251239" cy="2046736"/>
          </a:xfrm>
          <a:prstGeom prst="rect">
            <a:avLst/>
          </a:prstGeom>
          <a:solidFill>
            <a:schemeClr val="tx1">
              <a:lumMod val="90000"/>
              <a:lumOff val="10000"/>
            </a:schemeClr>
          </a:solidFill>
          <a:ln/>
        </p:spPr>
        <p:style>
          <a:lnRef idx="3">
            <a:schemeClr val="lt1"/>
          </a:lnRef>
          <a:fillRef idx="1">
            <a:schemeClr val="dk1"/>
          </a:fillRef>
          <a:effectRef idx="1">
            <a:schemeClr val="dk1"/>
          </a:effectRef>
          <a:fontRef idx="minor">
            <a:schemeClr val="lt1"/>
          </a:fontRef>
        </p:style>
        <p:txBody>
          <a:bodyPr lIns="539894" rIns="179965" rtlCol="0" anchor="ctr"/>
          <a:lstStyle/>
          <a:p>
            <a:pPr marL="0" marR="0" lvl="0" indent="0" algn="l" defTabSz="1218835" rtl="0" eaLnBrk="1" fontAlgn="auto" latinLnBrk="0" hangingPunct="1">
              <a:lnSpc>
                <a:spcPct val="100000"/>
              </a:lnSpc>
              <a:spcBef>
                <a:spcPts val="0"/>
              </a:spcBef>
              <a:spcAft>
                <a:spcPts val="0"/>
              </a:spcAft>
              <a:buClrTx/>
              <a:buSzTx/>
              <a:buFontTx/>
              <a:buNone/>
              <a:tabLst/>
              <a:defRPr/>
            </a:pPr>
            <a:r>
              <a:rPr lang="nb-NO" sz="3200" dirty="0">
                <a:effectLst/>
                <a:latin typeface="Calibri" panose="020F0502020204030204" pitchFamily="34" charset="0"/>
                <a:ea typeface="Yu Mincho" panose="02020400000000000000" pitchFamily="18" charset="-128"/>
                <a:cs typeface="Arial" panose="020B0604020202020204" pitchFamily="34" charset="0"/>
              </a:rPr>
              <a:t>Nasjonale grunndata skal ha en kvalitet som gjør at de faktiske forhold gjenspeiles og behov dekkes. Dataenes bruksverdi, integritet og hensiktsmessig forvaltning skal sikres</a:t>
            </a:r>
            <a:endParaRPr kumimoji="0" lang="nb-NO" sz="32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Tittel 1">
            <a:extLst>
              <a:ext uri="{FF2B5EF4-FFF2-40B4-BE49-F238E27FC236}">
                <a16:creationId xmlns:a16="http://schemas.microsoft.com/office/drawing/2014/main" id="{001A814C-88F0-17CD-3417-51CA0138FD39}"/>
              </a:ext>
            </a:extLst>
          </p:cNvPr>
          <p:cNvSpPr>
            <a:spLocks noGrp="1"/>
          </p:cNvSpPr>
          <p:nvPr>
            <p:ph type="title"/>
          </p:nvPr>
        </p:nvSpPr>
        <p:spPr>
          <a:xfrm>
            <a:off x="440625" y="415494"/>
            <a:ext cx="14016694" cy="1385047"/>
          </a:xfrm>
        </p:spPr>
        <p:txBody>
          <a:bodyPr>
            <a:normAutofit/>
          </a:bodyPr>
          <a:lstStyle/>
          <a:p>
            <a:r>
              <a:rPr lang="nb-NO" sz="4000" dirty="0">
                <a:solidFill>
                  <a:prstClr val="black"/>
                </a:solidFill>
                <a:latin typeface="Arial" panose="020B0604020202020204" pitchFamily="34" charset="0"/>
                <a:ea typeface="Calibri" panose="020F0502020204030204" pitchFamily="34" charset="0"/>
                <a:cs typeface="Arial" panose="020B0604020202020204" pitchFamily="34" charset="0"/>
              </a:rPr>
              <a:t>Prinsipp 1 – Dataforvaltning  </a:t>
            </a:r>
            <a:endParaRPr lang="nb-NO" sz="4000" dirty="0">
              <a:latin typeface="Arial" panose="020B0604020202020204" pitchFamily="34" charset="0"/>
              <a:ea typeface="Calibri" panose="020F0502020204030204" pitchFamily="34" charset="0"/>
              <a:cs typeface="Arial" panose="020B0604020202020204" pitchFamily="34" charset="0"/>
            </a:endParaRPr>
          </a:p>
        </p:txBody>
      </p:sp>
      <p:sp>
        <p:nvSpPr>
          <p:cNvPr id="3" name="Plassholder for innhold 2">
            <a:extLst>
              <a:ext uri="{FF2B5EF4-FFF2-40B4-BE49-F238E27FC236}">
                <a16:creationId xmlns:a16="http://schemas.microsoft.com/office/drawing/2014/main" id="{633E4615-C19F-9BEA-4072-5DA1AA8926C9}"/>
              </a:ext>
            </a:extLst>
          </p:cNvPr>
          <p:cNvSpPr>
            <a:spLocks noGrp="1"/>
          </p:cNvSpPr>
          <p:nvPr>
            <p:ph idx="1"/>
          </p:nvPr>
        </p:nvSpPr>
        <p:spPr>
          <a:xfrm>
            <a:off x="663388" y="4247213"/>
            <a:ext cx="15589438" cy="4896787"/>
          </a:xfrm>
        </p:spPr>
        <p:txBody>
          <a:bodyPr vert="horz" lIns="91422" tIns="45712" rIns="91422" bIns="45712" rtlCol="0" anchor="t">
            <a:normAutofit fontScale="62500" lnSpcReduction="20000"/>
          </a:bodyPr>
          <a:lstStyle/>
          <a:p>
            <a:pPr marL="0" indent="0">
              <a:buNone/>
            </a:pPr>
            <a:r>
              <a:rPr lang="nb-NO" sz="4800" dirty="0">
                <a:solidFill>
                  <a:prstClr val="black"/>
                </a:solidFill>
                <a:latin typeface="Arial" panose="020B0604020202020204" pitchFamily="34" charset="0"/>
                <a:ea typeface="Calibri" panose="020F0502020204030204" pitchFamily="34" charset="0"/>
                <a:cs typeface="Arial" panose="020B0604020202020204" pitchFamily="34" charset="0"/>
              </a:rPr>
              <a:t>Anbefalinger til etterlevelse:</a:t>
            </a:r>
          </a:p>
          <a:p>
            <a:pPr marL="0" indent="0">
              <a:lnSpc>
                <a:spcPct val="110000"/>
              </a:lnSpc>
              <a:buNone/>
              <a:defRPr/>
            </a:pPr>
            <a:r>
              <a:rPr lang="nb-NO" sz="4200" dirty="0">
                <a:solidFill>
                  <a:prstClr val="black"/>
                </a:solidFill>
                <a:latin typeface="Arial" panose="020B0604020202020204" pitchFamily="34" charset="0"/>
                <a:ea typeface="Calibri" panose="020F0502020204030204" pitchFamily="34" charset="0"/>
                <a:cs typeface="Arial" panose="020B0604020202020204" pitchFamily="34" charset="0"/>
              </a:rPr>
              <a:t>Sørg for at Nasjonale grunndata følger fastsatte krav og prosesser i rammeverket for nasjonale grunndata</a:t>
            </a:r>
          </a:p>
          <a:p>
            <a:pPr>
              <a:lnSpc>
                <a:spcPct val="110000"/>
              </a:lnSpc>
              <a:defRPr/>
            </a:pPr>
            <a:r>
              <a:rPr lang="nb-NO" sz="4200" dirty="0">
                <a:solidFill>
                  <a:prstClr val="black"/>
                </a:solidFill>
                <a:latin typeface="Arial" panose="020B0604020202020204" pitchFamily="34" charset="0"/>
                <a:ea typeface="Calibri" panose="020F0502020204030204" pitchFamily="34" charset="0"/>
                <a:cs typeface="Arial" panose="020B0604020202020204" pitchFamily="34" charset="0"/>
              </a:rPr>
              <a:t>Nasjonale grunndata skal ha et avklart forvaltningsansvar slik at ansvar for datakvalitet er plassert</a:t>
            </a:r>
          </a:p>
          <a:p>
            <a:pPr lvl="1">
              <a:lnSpc>
                <a:spcPct val="110000"/>
              </a:lnSpc>
              <a:defRPr/>
            </a:pPr>
            <a:r>
              <a:rPr lang="nb-NO" dirty="0">
                <a:solidFill>
                  <a:prstClr val="black"/>
                </a:solidFill>
                <a:latin typeface="Arial" panose="020B0604020202020204" pitchFamily="34" charset="0"/>
                <a:ea typeface="Calibri" panose="020F0502020204030204" pitchFamily="34" charset="0"/>
                <a:cs typeface="Arial" panose="020B0604020202020204" pitchFamily="34" charset="0"/>
              </a:rPr>
              <a:t>Dette gjelder utforming, etablering og forvaltning av nasjonale grunndata, både med hensyn til forutsetninger, ansvarsforhold, risikofaktorer og ressursbruk </a:t>
            </a:r>
          </a:p>
          <a:p>
            <a:pPr marL="304104" indent="-304104">
              <a:lnSpc>
                <a:spcPct val="110000"/>
              </a:lnSpc>
              <a:defRPr/>
            </a:pPr>
            <a:r>
              <a:rPr lang="nb-NO" sz="4200" dirty="0">
                <a:solidFill>
                  <a:prstClr val="black"/>
                </a:solidFill>
                <a:latin typeface="Arial" panose="020B0604020202020204" pitchFamily="34" charset="0"/>
                <a:ea typeface="Calibri" panose="020F0502020204030204" pitchFamily="34" charset="0"/>
                <a:cs typeface="Arial" panose="020B0604020202020204" pitchFamily="34" charset="0"/>
              </a:rPr>
              <a:t>Nasjonale grunndata skal ha tilstrekkelig kvalitet til å dekke et nasjonalt behov (konsumenters behov på tvers av sektorer/ domener)</a:t>
            </a:r>
          </a:p>
          <a:p>
            <a:pPr marL="913583" lvl="1" indent="-304104">
              <a:lnSpc>
                <a:spcPct val="110000"/>
              </a:lnSpc>
              <a:defRPr/>
            </a:pPr>
            <a:r>
              <a:rPr lang="nb-NO" dirty="0">
                <a:solidFill>
                  <a:prstClr val="black"/>
                </a:solidFill>
                <a:latin typeface="Arial" panose="020B0604020202020204" pitchFamily="34" charset="0"/>
                <a:ea typeface="Calibri" panose="020F0502020204030204" pitchFamily="34" charset="0"/>
                <a:cs typeface="Arial" panose="020B0604020202020204" pitchFamily="34" charset="0"/>
              </a:rPr>
              <a:t>Det må være tydelig og forståelig hvilke krav som stilles til kilden for opplysninger, og hvem som har ansvar for å gi hvilke bidrag til sikring av kvalitet </a:t>
            </a:r>
          </a:p>
          <a:p>
            <a:pPr marL="913583" lvl="1" indent="-304104">
              <a:lnSpc>
                <a:spcPct val="110000"/>
              </a:lnSpc>
              <a:defRPr/>
            </a:pPr>
            <a:r>
              <a:rPr lang="nb-NO" dirty="0">
                <a:solidFill>
                  <a:prstClr val="black"/>
                </a:solidFill>
                <a:latin typeface="Arial" panose="020B0604020202020204" pitchFamily="34" charset="0"/>
                <a:ea typeface="Calibri" panose="020F0502020204030204" pitchFamily="34" charset="0"/>
                <a:cs typeface="Arial" panose="020B0604020202020204" pitchFamily="34" charset="0"/>
              </a:rPr>
              <a:t>Etabler tilbakemeldingssløyfer og rutiner for hvordan opprettholde kvalitet på data (Kvalitetsavvik avdekkes som regel gjennom bruken av data)</a:t>
            </a:r>
          </a:p>
          <a:p>
            <a:pPr marL="913583" lvl="1" indent="-304104"/>
            <a:endParaRPr lang="nb-NO" sz="3733"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304104" indent="-304104"/>
            <a:endParaRPr lang="nb-NO"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marL="304104" indent="-304104"/>
            <a:endParaRPr lang="nb-NO"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794481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D60FC3CB-88E4-BE4C-AD26-9B80AD3AB0BA}"/>
              </a:ext>
            </a:extLst>
          </p:cNvPr>
          <p:cNvSpPr/>
          <p:nvPr/>
        </p:nvSpPr>
        <p:spPr>
          <a:xfrm>
            <a:off x="1587" y="1800541"/>
            <a:ext cx="16251239" cy="2046736"/>
          </a:xfrm>
          <a:prstGeom prst="rect">
            <a:avLst/>
          </a:prstGeom>
          <a:solidFill>
            <a:schemeClr val="tx1">
              <a:lumMod val="90000"/>
              <a:lumOff val="10000"/>
            </a:schemeClr>
          </a:solidFill>
          <a:ln/>
        </p:spPr>
        <p:style>
          <a:lnRef idx="3">
            <a:schemeClr val="lt1"/>
          </a:lnRef>
          <a:fillRef idx="1">
            <a:schemeClr val="dk1"/>
          </a:fillRef>
          <a:effectRef idx="1">
            <a:schemeClr val="dk1"/>
          </a:effectRef>
          <a:fontRef idx="minor">
            <a:schemeClr val="lt1"/>
          </a:fontRef>
        </p:style>
        <p:txBody>
          <a:bodyPr lIns="539894" rIns="179965" rtlCol="0" anchor="ctr"/>
          <a:lstStyle/>
          <a:p>
            <a:pPr marL="0" marR="0" lvl="0" indent="0" algn="l" defTabSz="1218835"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Nasjonale grunndata deles med de som har rettighet til det. Dataenes livssyklus, anvendbarhet og «</a:t>
            </a:r>
            <a:r>
              <a:rPr kumimoji="0" lang="nb-NO" sz="3200" b="0" i="0" u="none" strike="noStrike" kern="1200" cap="none" spc="0" normalizeH="0" baseline="0" noProof="0" dirty="0" err="1">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kombinerbarhet</a:t>
            </a:r>
            <a:r>
              <a:rPr kumimoji="0" lang="nb-NO" sz="32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 må sikres. Dataene skal kunne benyttes i ulik brukskontekst, saksbehandling, livshendelser eller situasjonsforståelse.</a:t>
            </a:r>
          </a:p>
        </p:txBody>
      </p:sp>
      <p:sp>
        <p:nvSpPr>
          <p:cNvPr id="2" name="Tittel 1">
            <a:extLst>
              <a:ext uri="{FF2B5EF4-FFF2-40B4-BE49-F238E27FC236}">
                <a16:creationId xmlns:a16="http://schemas.microsoft.com/office/drawing/2014/main" id="{001A814C-88F0-17CD-3417-51CA0138FD39}"/>
              </a:ext>
            </a:extLst>
          </p:cNvPr>
          <p:cNvSpPr>
            <a:spLocks noGrp="1"/>
          </p:cNvSpPr>
          <p:nvPr>
            <p:ph type="title"/>
          </p:nvPr>
        </p:nvSpPr>
        <p:spPr>
          <a:xfrm>
            <a:off x="440625" y="415494"/>
            <a:ext cx="14016694" cy="1385047"/>
          </a:xfrm>
        </p:spPr>
        <p:txBody>
          <a:bodyPr>
            <a:normAutofit/>
          </a:bodyPr>
          <a:lstStyle/>
          <a:p>
            <a:r>
              <a:rPr lang="nb-NO" sz="4000" dirty="0">
                <a:solidFill>
                  <a:prstClr val="black"/>
                </a:solidFill>
                <a:latin typeface="Arial" panose="020B0604020202020204" pitchFamily="34" charset="0"/>
                <a:ea typeface="Calibri" panose="020F0502020204030204" pitchFamily="34" charset="0"/>
                <a:cs typeface="Arial" panose="020B0604020202020204" pitchFamily="34" charset="0"/>
              </a:rPr>
              <a:t>Prinsipp 2 - Datadeling og -sammenstilling</a:t>
            </a:r>
            <a:endParaRPr lang="nb-NO" sz="4000" dirty="0">
              <a:latin typeface="Arial" panose="020B0604020202020204" pitchFamily="34" charset="0"/>
              <a:ea typeface="Calibri" panose="020F0502020204030204" pitchFamily="34" charset="0"/>
              <a:cs typeface="Arial" panose="020B0604020202020204" pitchFamily="34" charset="0"/>
            </a:endParaRPr>
          </a:p>
        </p:txBody>
      </p:sp>
      <p:sp>
        <p:nvSpPr>
          <p:cNvPr id="3" name="Plassholder for innhold 2">
            <a:extLst>
              <a:ext uri="{FF2B5EF4-FFF2-40B4-BE49-F238E27FC236}">
                <a16:creationId xmlns:a16="http://schemas.microsoft.com/office/drawing/2014/main" id="{633E4615-C19F-9BEA-4072-5DA1AA8926C9}"/>
              </a:ext>
            </a:extLst>
          </p:cNvPr>
          <p:cNvSpPr>
            <a:spLocks noGrp="1"/>
          </p:cNvSpPr>
          <p:nvPr>
            <p:ph idx="1"/>
          </p:nvPr>
        </p:nvSpPr>
        <p:spPr>
          <a:xfrm>
            <a:off x="706482" y="4175495"/>
            <a:ext cx="15250693" cy="4409157"/>
          </a:xfrm>
        </p:spPr>
        <p:txBody>
          <a:bodyPr vert="horz" lIns="91422" tIns="45712" rIns="91422" bIns="45712" rtlCol="0" anchor="t">
            <a:normAutofit/>
          </a:bodyPr>
          <a:lstStyle/>
          <a:p>
            <a:pPr marL="0" marR="0" lvl="0" indent="0" algn="l" defTabSz="1218957" rtl="0" eaLnBrk="1" fontAlgn="auto" latinLnBrk="0" hangingPunct="1">
              <a:lnSpc>
                <a:spcPct val="90000"/>
              </a:lnSpc>
              <a:spcBef>
                <a:spcPts val="1333"/>
              </a:spcBef>
              <a:spcAft>
                <a:spcPts val="0"/>
              </a:spcAft>
              <a:buClrTx/>
              <a:buSzTx/>
              <a:buFont typeface="Arial" panose="020B0604020202020204" pitchFamily="34" charset="0"/>
              <a:buNone/>
              <a:tabLst/>
              <a:defRPr/>
            </a:pPr>
            <a:r>
              <a:rPr kumimoji="0" lang="nb-NO" sz="3000" b="0" i="0" u="none" strike="noStrike" kern="1200" cap="none" spc="0" normalizeH="0" baseline="0" noProof="0" dirty="0">
                <a:ln>
                  <a:noFill/>
                </a:ln>
                <a:solidFill>
                  <a:prstClr val="black"/>
                </a:solidFill>
                <a:effectLst/>
                <a:uLnTx/>
                <a:uFillTx/>
                <a:latin typeface="Arial"/>
                <a:ea typeface="Calibri"/>
                <a:cs typeface="Arial"/>
              </a:rPr>
              <a:t>Anbefalinger til etterlevelse:</a:t>
            </a:r>
          </a:p>
          <a:p>
            <a:pPr marL="0" marR="0" lvl="0" indent="0" algn="l" defTabSz="1218957" rtl="0" eaLnBrk="1" fontAlgn="auto" latinLnBrk="0" hangingPunct="1">
              <a:lnSpc>
                <a:spcPct val="90000"/>
              </a:lnSpc>
              <a:spcBef>
                <a:spcPts val="1333"/>
              </a:spcBef>
              <a:spcAft>
                <a:spcPts val="0"/>
              </a:spcAft>
              <a:buClrTx/>
              <a:buSzTx/>
              <a:buFont typeface="Arial" panose="020B0604020202020204" pitchFamily="34" charset="0"/>
              <a:buNone/>
              <a:tabLst/>
              <a:defRPr/>
            </a:pPr>
            <a:r>
              <a:rPr kumimoji="0" lang="nb-NO" sz="2600" b="0" i="0" u="none" strike="noStrike" kern="1200" cap="none" spc="0" normalizeH="0" baseline="0" noProof="0" dirty="0">
                <a:ln>
                  <a:noFill/>
                </a:ln>
                <a:solidFill>
                  <a:prstClr val="black"/>
                </a:solidFill>
                <a:effectLst/>
                <a:uLnTx/>
                <a:uFillTx/>
                <a:latin typeface="Arial"/>
                <a:ea typeface="Calibri"/>
                <a:cs typeface="Arial"/>
              </a:rPr>
              <a:t>Sørg for at Nasjonale grunndata er innrettet for flerbruk og kan anvendes effektivt og enkelt </a:t>
            </a:r>
          </a:p>
          <a:p>
            <a:pPr>
              <a:spcBef>
                <a:spcPts val="667"/>
              </a:spcBef>
              <a:defRPr/>
            </a:pPr>
            <a:r>
              <a:rPr kumimoji="0" lang="nb-NO" sz="2600" b="0" i="0" u="none" strike="noStrike" kern="1200" cap="none" spc="0" normalizeH="0" baseline="0" noProof="0" dirty="0">
                <a:ln>
                  <a:noFill/>
                </a:ln>
                <a:effectLst/>
                <a:uLnTx/>
                <a:uFillTx/>
                <a:latin typeface="Arial"/>
                <a:ea typeface="Calibri"/>
                <a:cs typeface="Arial"/>
              </a:rPr>
              <a:t>Nasjonale grunndata skal forvaltes og tilgjengeliggjøres slik at konsumenter ikke har behov for å samle inn dataene inn på nytt </a:t>
            </a:r>
          </a:p>
          <a:p>
            <a:pPr>
              <a:spcBef>
                <a:spcPts val="667"/>
              </a:spcBef>
              <a:defRPr/>
            </a:pPr>
            <a:r>
              <a:rPr kumimoji="0" lang="nb-NO" sz="2600" b="0" i="0" u="none" strike="noStrike" kern="1200" cap="none" spc="0" normalizeH="0" baseline="0" noProof="0" dirty="0">
                <a:ln>
                  <a:noFill/>
                </a:ln>
                <a:solidFill>
                  <a:prstClr val="black"/>
                </a:solidFill>
                <a:effectLst/>
                <a:uLnTx/>
                <a:uFillTx/>
                <a:latin typeface="Arial"/>
                <a:ea typeface="Calibri"/>
                <a:cs typeface="Arial"/>
              </a:rPr>
              <a:t>Nasjonale grunndata skal </a:t>
            </a:r>
            <a:r>
              <a:rPr kumimoji="0" lang="nb-NO" sz="2600" b="0" i="0" u="sng" strike="noStrike" kern="1200" cap="none" spc="0" normalizeH="0" baseline="0" noProof="0" dirty="0">
                <a:ln>
                  <a:noFill/>
                </a:ln>
                <a:solidFill>
                  <a:prstClr val="black"/>
                </a:solidFill>
                <a:effectLst/>
                <a:uLnTx/>
                <a:uFillTx/>
                <a:latin typeface="Arial"/>
                <a:ea typeface="Calibri"/>
                <a:cs typeface="Arial"/>
              </a:rPr>
              <a:t>baseres</a:t>
            </a:r>
            <a:r>
              <a:rPr kumimoji="0" lang="nb-NO" sz="2600" b="0" i="0" u="none" strike="noStrike" kern="1200" cap="none" spc="0" normalizeH="0" baseline="0" noProof="0" dirty="0">
                <a:ln>
                  <a:noFill/>
                </a:ln>
                <a:solidFill>
                  <a:prstClr val="black"/>
                </a:solidFill>
                <a:effectLst/>
                <a:uLnTx/>
                <a:uFillTx/>
                <a:latin typeface="Arial"/>
                <a:ea typeface="Calibri"/>
                <a:cs typeface="Arial"/>
              </a:rPr>
              <a:t> på FAIR-prinsippene (</a:t>
            </a:r>
            <a:r>
              <a:rPr kumimoji="0" lang="nb-NO" sz="2600" b="0" i="0" u="none" strike="noStrike" kern="1200" cap="none" spc="0" normalizeH="0" baseline="0" noProof="0" dirty="0" err="1">
                <a:ln>
                  <a:noFill/>
                </a:ln>
                <a:solidFill>
                  <a:prstClr val="black"/>
                </a:solidFill>
                <a:effectLst/>
                <a:uLnTx/>
                <a:uFillTx/>
                <a:latin typeface="Arial"/>
                <a:ea typeface="Calibri"/>
                <a:cs typeface="Arial"/>
              </a:rPr>
              <a:t>Findable</a:t>
            </a:r>
            <a:r>
              <a:rPr kumimoji="0" lang="nb-NO" sz="2600" b="0" i="0" u="none" strike="noStrike" kern="1200" cap="none" spc="0" normalizeH="0" baseline="0" noProof="0" dirty="0">
                <a:ln>
                  <a:noFill/>
                </a:ln>
                <a:solidFill>
                  <a:prstClr val="black"/>
                </a:solidFill>
                <a:effectLst/>
                <a:uLnTx/>
                <a:uFillTx/>
                <a:latin typeface="Arial"/>
                <a:ea typeface="Calibri"/>
                <a:cs typeface="Arial"/>
              </a:rPr>
              <a:t>, </a:t>
            </a:r>
            <a:r>
              <a:rPr kumimoji="0" lang="nb-NO" sz="2600" b="0" i="0" u="none" strike="noStrike" kern="1200" cap="none" spc="0" normalizeH="0" baseline="0" noProof="0" dirty="0" err="1">
                <a:ln>
                  <a:noFill/>
                </a:ln>
                <a:solidFill>
                  <a:prstClr val="black"/>
                </a:solidFill>
                <a:effectLst/>
                <a:uLnTx/>
                <a:uFillTx/>
                <a:latin typeface="Arial"/>
                <a:ea typeface="Calibri"/>
                <a:cs typeface="Arial"/>
              </a:rPr>
              <a:t>Accessible</a:t>
            </a:r>
            <a:r>
              <a:rPr kumimoji="0" lang="nb-NO" sz="2600" b="0" i="0" u="none" strike="noStrike" kern="1200" cap="none" spc="0" normalizeH="0" baseline="0" noProof="0" dirty="0">
                <a:ln>
                  <a:noFill/>
                </a:ln>
                <a:solidFill>
                  <a:prstClr val="black"/>
                </a:solidFill>
                <a:effectLst/>
                <a:uLnTx/>
                <a:uFillTx/>
                <a:latin typeface="Arial"/>
                <a:ea typeface="Calibri"/>
                <a:cs typeface="Arial"/>
              </a:rPr>
              <a:t>, Interoperable, </a:t>
            </a:r>
            <a:r>
              <a:rPr kumimoji="0" lang="nb-NO" sz="2600" b="0" i="0" u="none" strike="noStrike" kern="1200" cap="none" spc="0" normalizeH="0" baseline="0" noProof="0" dirty="0" err="1">
                <a:ln>
                  <a:noFill/>
                </a:ln>
                <a:solidFill>
                  <a:prstClr val="black"/>
                </a:solidFill>
                <a:effectLst/>
                <a:uLnTx/>
                <a:uFillTx/>
                <a:latin typeface="Arial"/>
                <a:ea typeface="Calibri"/>
                <a:cs typeface="Arial"/>
              </a:rPr>
              <a:t>Reusable</a:t>
            </a:r>
            <a:r>
              <a:rPr kumimoji="0" lang="nb-NO" sz="2600" b="0" i="0" u="none" strike="noStrike" kern="1200" cap="none" spc="0" normalizeH="0" baseline="0" noProof="0" dirty="0">
                <a:ln>
                  <a:noFill/>
                </a:ln>
                <a:solidFill>
                  <a:prstClr val="black"/>
                </a:solidFill>
                <a:effectLst/>
                <a:uLnTx/>
                <a:uFillTx/>
                <a:latin typeface="Arial"/>
                <a:ea typeface="Calibri"/>
                <a:cs typeface="Arial"/>
              </a:rPr>
              <a:t>)</a:t>
            </a:r>
          </a:p>
          <a:p>
            <a:pPr marL="304165" marR="0" lvl="0" indent="-304165" algn="l" defTabSz="1218957" rtl="0" eaLnBrk="1" fontAlgn="auto" latinLnBrk="0" hangingPunct="1">
              <a:lnSpc>
                <a:spcPct val="90000"/>
              </a:lnSpc>
              <a:spcBef>
                <a:spcPts val="1333"/>
              </a:spcBef>
              <a:spcAft>
                <a:spcPts val="0"/>
              </a:spcAft>
              <a:buClrTx/>
              <a:buSzTx/>
              <a:buFont typeface="Arial" panose="020B0604020202020204" pitchFamily="34" charset="0"/>
              <a:buChar char="•"/>
              <a:tabLst/>
              <a:defRPr/>
            </a:pPr>
            <a:r>
              <a:rPr kumimoji="0" lang="nb-NO" sz="2600" b="0" i="0" u="none" strike="noStrike" kern="1200" cap="none" spc="0" normalizeH="0" baseline="0" noProof="0" dirty="0">
                <a:ln>
                  <a:noFill/>
                </a:ln>
                <a:solidFill>
                  <a:prstClr val="black"/>
                </a:solidFill>
                <a:effectLst/>
                <a:uLnTx/>
                <a:uFillTx/>
                <a:latin typeface="Arial"/>
                <a:ea typeface="Calibri"/>
                <a:cs typeface="Arial"/>
              </a:rPr>
              <a:t>Nasjonale grunndata skal kunne kombineres med andre data. Det er gjennom sammenstilling dataene gir høy verdi på tvers og skaper stor </a:t>
            </a:r>
            <a:r>
              <a:rPr kumimoji="0" lang="nb-NO" sz="2600" b="0" i="0" u="none" strike="noStrike" kern="1200" cap="none" spc="0" normalizeH="0" baseline="0" noProof="0" dirty="0" err="1">
                <a:ln>
                  <a:noFill/>
                </a:ln>
                <a:solidFill>
                  <a:prstClr val="black"/>
                </a:solidFill>
                <a:effectLst/>
                <a:uLnTx/>
                <a:uFillTx/>
                <a:latin typeface="Arial"/>
                <a:ea typeface="Calibri"/>
                <a:cs typeface="Arial"/>
              </a:rPr>
              <a:t>samfunnsnytte</a:t>
            </a:r>
            <a:endParaRPr kumimoji="0" lang="nb-NO" sz="2600" b="0" i="0" u="none" strike="noStrike" kern="1200" cap="none" spc="0" normalizeH="0" baseline="0" noProof="0" dirty="0">
              <a:ln>
                <a:noFill/>
              </a:ln>
              <a:solidFill>
                <a:prstClr val="black"/>
              </a:solidFill>
              <a:effectLst/>
              <a:uLnTx/>
              <a:uFillTx/>
              <a:latin typeface="Arial"/>
              <a:ea typeface="Calibri"/>
              <a:cs typeface="Arial"/>
            </a:endParaRPr>
          </a:p>
          <a:p>
            <a:pPr marL="913583" lvl="1" indent="-304104"/>
            <a:endParaRPr lang="nb-NO" sz="3733"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304104" indent="-304104"/>
            <a:endParaRPr lang="nb-NO"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marL="304104" indent="-304104"/>
            <a:endParaRPr lang="nb-NO"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33132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E8153B-F339-C43D-02BD-DB9F16A5333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4EEA7BAD-D636-B687-9056-28A2FD42791B}"/>
              </a:ext>
            </a:extLst>
          </p:cNvPr>
          <p:cNvSpPr/>
          <p:nvPr/>
        </p:nvSpPr>
        <p:spPr>
          <a:xfrm>
            <a:off x="-1" y="447"/>
            <a:ext cx="16254413" cy="9143107"/>
          </a:xfrm>
          <a:prstGeom prst="rect">
            <a:avLst/>
          </a:prstGeom>
          <a:solidFill>
            <a:srgbClr val="E5AA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149949" rtl="0" eaLnBrk="1" fontAlgn="auto" latinLnBrk="0" hangingPunct="1">
              <a:lnSpc>
                <a:spcPct val="100000"/>
              </a:lnSpc>
              <a:spcBef>
                <a:spcPts val="0"/>
              </a:spcBef>
              <a:spcAft>
                <a:spcPts val="0"/>
              </a:spcAft>
              <a:buClrTx/>
              <a:buSzTx/>
              <a:buFontTx/>
              <a:buNone/>
              <a:tabLst/>
              <a:defRPr/>
            </a:pPr>
            <a:endParaRPr kumimoji="0" lang="nb-NO" sz="3018"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05CBEB06-7B61-0380-3D51-015BC105A263}"/>
              </a:ext>
            </a:extLst>
          </p:cNvPr>
          <p:cNvSpPr>
            <a:spLocks noGrp="1"/>
          </p:cNvSpPr>
          <p:nvPr>
            <p:ph type="title"/>
          </p:nvPr>
        </p:nvSpPr>
        <p:spPr>
          <a:xfrm>
            <a:off x="1058238" y="4105835"/>
            <a:ext cx="14825609" cy="932329"/>
          </a:xfrm>
        </p:spPr>
        <p:txBody>
          <a:bodyPr>
            <a:noAutofit/>
          </a:bodyPr>
          <a:lstStyle/>
          <a:p>
            <a:pPr algn="ctr"/>
            <a:r>
              <a:rPr lang="nb-NO" sz="5400" dirty="0"/>
              <a:t>Del 3:Prosesser</a:t>
            </a:r>
          </a:p>
        </p:txBody>
      </p:sp>
    </p:spTree>
    <p:extLst>
      <p:ext uri="{BB962C8B-B14F-4D97-AF65-F5344CB8AC3E}">
        <p14:creationId xmlns:p14="http://schemas.microsoft.com/office/powerpoint/2010/main" val="22424781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a:extLst>
              <a:ext uri="{FF2B5EF4-FFF2-40B4-BE49-F238E27FC236}">
                <a16:creationId xmlns:a16="http://schemas.microsoft.com/office/drawing/2014/main" id="{9F24E689-503B-680D-FA45-A0B75FB0BDCD}"/>
              </a:ext>
            </a:extLst>
          </p:cNvPr>
          <p:cNvSpPr/>
          <p:nvPr/>
        </p:nvSpPr>
        <p:spPr>
          <a:xfrm>
            <a:off x="797214" y="1062638"/>
            <a:ext cx="1989075" cy="7972788"/>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prstClr val="white"/>
                </a:solidFill>
                <a:effectLst/>
                <a:uLnTx/>
                <a:uFillTx/>
                <a:latin typeface="Calibri" panose="020F0502020204030204"/>
                <a:ea typeface="+mn-ea"/>
                <a:cs typeface="+mn-cs"/>
              </a:rPr>
              <a:t>Utviklingsfaser</a:t>
            </a:r>
            <a:endParaRPr kumimoji="0" lang="nb-NO"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ounded Rectangle 16">
            <a:extLst>
              <a:ext uri="{FF2B5EF4-FFF2-40B4-BE49-F238E27FC236}">
                <a16:creationId xmlns:a16="http://schemas.microsoft.com/office/drawing/2014/main" id="{5C8F4483-CFE7-4714-A708-3B37BB7A30B9}"/>
              </a:ext>
            </a:extLst>
          </p:cNvPr>
          <p:cNvSpPr/>
          <p:nvPr/>
        </p:nvSpPr>
        <p:spPr>
          <a:xfrm>
            <a:off x="290508" y="7398665"/>
            <a:ext cx="14730561" cy="1523851"/>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4 Løpende forvaltning og drift</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p:txBody>
      </p:sp>
      <p:sp>
        <p:nvSpPr>
          <p:cNvPr id="16" name="Rounded Rectangle 15">
            <a:extLst>
              <a:ext uri="{FF2B5EF4-FFF2-40B4-BE49-F238E27FC236}">
                <a16:creationId xmlns:a16="http://schemas.microsoft.com/office/drawing/2014/main" id="{F48A3AA3-C7CC-CC4C-E9A8-2C40A4BCE40B}"/>
              </a:ext>
            </a:extLst>
          </p:cNvPr>
          <p:cNvSpPr/>
          <p:nvPr/>
        </p:nvSpPr>
        <p:spPr>
          <a:xfrm>
            <a:off x="290508" y="5458819"/>
            <a:ext cx="14730561" cy="167304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3 Beslutt rammer og standarder</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p:txBody>
      </p:sp>
      <p:sp>
        <p:nvSpPr>
          <p:cNvPr id="15" name="Rounded Rectangle 14">
            <a:extLst>
              <a:ext uri="{FF2B5EF4-FFF2-40B4-BE49-F238E27FC236}">
                <a16:creationId xmlns:a16="http://schemas.microsoft.com/office/drawing/2014/main" id="{474D44EC-BBBD-2BAE-9747-68D72C055A5E}"/>
              </a:ext>
            </a:extLst>
          </p:cNvPr>
          <p:cNvSpPr/>
          <p:nvPr/>
        </p:nvSpPr>
        <p:spPr>
          <a:xfrm>
            <a:off x="290508" y="3428240"/>
            <a:ext cx="14730561" cy="1776949"/>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2 Vurder verdi, avgrens og planlegg</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p:txBody>
      </p:sp>
      <p:sp>
        <p:nvSpPr>
          <p:cNvPr id="4" name="Rounded Rectangle 3">
            <a:extLst>
              <a:ext uri="{FF2B5EF4-FFF2-40B4-BE49-F238E27FC236}">
                <a16:creationId xmlns:a16="http://schemas.microsoft.com/office/drawing/2014/main" id="{8FE468A6-9AC3-7E59-4FE7-9C1C9180A12D}"/>
              </a:ext>
            </a:extLst>
          </p:cNvPr>
          <p:cNvSpPr/>
          <p:nvPr/>
        </p:nvSpPr>
        <p:spPr>
          <a:xfrm>
            <a:off x="290508" y="1644313"/>
            <a:ext cx="14730561" cy="1523851"/>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1 Behov</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p:txBody>
      </p:sp>
      <p:sp>
        <p:nvSpPr>
          <p:cNvPr id="9" name="Rounded Rectangle 8">
            <a:extLst>
              <a:ext uri="{FF2B5EF4-FFF2-40B4-BE49-F238E27FC236}">
                <a16:creationId xmlns:a16="http://schemas.microsoft.com/office/drawing/2014/main" id="{09179545-E95B-5D3B-C9C8-B6229BFC047A}"/>
              </a:ext>
            </a:extLst>
          </p:cNvPr>
          <p:cNvSpPr/>
          <p:nvPr/>
        </p:nvSpPr>
        <p:spPr>
          <a:xfrm>
            <a:off x="11463590" y="1077151"/>
            <a:ext cx="3193992" cy="7972789"/>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prstClr val="white"/>
                </a:solidFill>
                <a:effectLst/>
                <a:uLnTx/>
                <a:uFillTx/>
                <a:latin typeface="Calibri" panose="020F0502020204030204"/>
                <a:ea typeface="+mn-ea"/>
                <a:cs typeface="+mn-cs"/>
              </a:rPr>
              <a:t>Organer </a:t>
            </a:r>
          </a:p>
        </p:txBody>
      </p:sp>
      <p:sp>
        <p:nvSpPr>
          <p:cNvPr id="14" name="Rounded Rectangle 13">
            <a:extLst>
              <a:ext uri="{FF2B5EF4-FFF2-40B4-BE49-F238E27FC236}">
                <a16:creationId xmlns:a16="http://schemas.microsoft.com/office/drawing/2014/main" id="{FAD47795-5AED-2B09-550D-5EAD6B01E85C}"/>
              </a:ext>
            </a:extLst>
          </p:cNvPr>
          <p:cNvSpPr/>
          <p:nvPr/>
        </p:nvSpPr>
        <p:spPr>
          <a:xfrm>
            <a:off x="12497341" y="4225281"/>
            <a:ext cx="2066778" cy="4570827"/>
          </a:xfrm>
          <a:prstGeom prst="roundRect">
            <a:avLst/>
          </a:prstGeom>
        </p:spPr>
        <p:style>
          <a:lnRef idx="1">
            <a:schemeClr val="accent2"/>
          </a:lnRef>
          <a:fillRef idx="2">
            <a:schemeClr val="accent2"/>
          </a:fillRef>
          <a:effectRef idx="1">
            <a:schemeClr val="accent2"/>
          </a:effectRef>
          <a:fontRef idx="minor">
            <a:schemeClr val="dk1"/>
          </a:fontRef>
        </p:style>
        <p:txBody>
          <a:bodyPr rtlCol="0" anchor="t" anchorCtr="0"/>
          <a:lstStyle/>
          <a:p>
            <a:pPr marL="0" marR="0" lvl="0" indent="0" algn="r"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Aktør</a:t>
            </a:r>
            <a:r>
              <a:rPr kumimoji="0" lang="nb-NO" sz="1600" b="0" i="0" u="none" strike="noStrike" kern="1200" cap="none" spc="0" normalizeH="0" baseline="0" noProof="0">
                <a:ln>
                  <a:noFill/>
                </a:ln>
                <a:solidFill>
                  <a:prstClr val="black"/>
                </a:solidFill>
                <a:effectLst/>
                <a:uLnTx/>
                <a:uFillTx/>
                <a:latin typeface="Calibri" panose="020F0502020204030204"/>
                <a:ea typeface="+mn-ea"/>
                <a:cs typeface="+mn-cs"/>
              </a:rPr>
              <a:t> (statlig, kommunal, </a:t>
            </a:r>
            <a:br>
              <a:rPr kumimoji="0" lang="nb-NO" sz="1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nb-NO" sz="1600" b="0" i="0" u="none" strike="noStrike" kern="1200" cap="none" spc="0" normalizeH="0" baseline="0" noProof="0">
                <a:ln>
                  <a:noFill/>
                </a:ln>
                <a:solidFill>
                  <a:prstClr val="black"/>
                </a:solidFill>
                <a:effectLst/>
                <a:uLnTx/>
                <a:uFillTx/>
                <a:latin typeface="Calibri" panose="020F0502020204030204"/>
                <a:ea typeface="+mn-ea"/>
                <a:cs typeface="+mn-cs"/>
              </a:rPr>
              <a:t>privat, mm)</a:t>
            </a: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B302BDB5-6638-962F-60C1-0656FB5097F7}"/>
              </a:ext>
            </a:extLst>
          </p:cNvPr>
          <p:cNvSpPr txBox="1"/>
          <p:nvPr/>
        </p:nvSpPr>
        <p:spPr>
          <a:xfrm>
            <a:off x="290508" y="168642"/>
            <a:ext cx="8468344" cy="461665"/>
          </a:xfrm>
          <a:prstGeom prst="rect">
            <a:avLst/>
          </a:prstGeom>
          <a:noFill/>
        </p:spPr>
        <p:txBody>
          <a:bodyPr wrap="none" rtlCol="0">
            <a:sp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prstClr val="black"/>
                </a:solidFill>
                <a:effectLst/>
                <a:uLnTx/>
                <a:uFillTx/>
                <a:latin typeface="Calibri" panose="020F0502020204030204"/>
                <a:ea typeface="+mn-ea"/>
                <a:cs typeface="+mn-cs"/>
              </a:rPr>
              <a:t>Utviklingsfaser nasjonale grunndata (prosesser) – dagens situasjon</a:t>
            </a:r>
          </a:p>
        </p:txBody>
      </p:sp>
      <p:grpSp>
        <p:nvGrpSpPr>
          <p:cNvPr id="20" name="Gruppe 19">
            <a:extLst>
              <a:ext uri="{FF2B5EF4-FFF2-40B4-BE49-F238E27FC236}">
                <a16:creationId xmlns:a16="http://schemas.microsoft.com/office/drawing/2014/main" id="{20F7E426-F120-EAD0-8339-37AD954976A7}"/>
              </a:ext>
            </a:extLst>
          </p:cNvPr>
          <p:cNvGrpSpPr/>
          <p:nvPr/>
        </p:nvGrpSpPr>
        <p:grpSpPr>
          <a:xfrm>
            <a:off x="8872609" y="1062638"/>
            <a:ext cx="2184621" cy="7972789"/>
            <a:chOff x="6707857" y="796721"/>
            <a:chExt cx="1638626" cy="5980176"/>
          </a:xfrm>
        </p:grpSpPr>
        <p:sp>
          <p:nvSpPr>
            <p:cNvPr id="7" name="Rounded Rectangle 7">
              <a:extLst>
                <a:ext uri="{FF2B5EF4-FFF2-40B4-BE49-F238E27FC236}">
                  <a16:creationId xmlns:a16="http://schemas.microsoft.com/office/drawing/2014/main" id="{C67FC9B6-DDF8-515B-A1E8-8EAB47FFEBDC}"/>
                </a:ext>
              </a:extLst>
            </p:cNvPr>
            <p:cNvSpPr/>
            <p:nvPr/>
          </p:nvSpPr>
          <p:spPr>
            <a:xfrm>
              <a:off x="6707857" y="796721"/>
              <a:ext cx="1638626" cy="5980176"/>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prstClr val="white"/>
                  </a:solidFill>
                  <a:effectLst/>
                  <a:uLnTx/>
                  <a:uFillTx/>
                  <a:latin typeface="Calibri" panose="020F0502020204030204"/>
                  <a:ea typeface="+mn-ea"/>
                  <a:cs typeface="+mn-cs"/>
                </a:rPr>
                <a:t>Utvikling</a:t>
              </a:r>
            </a:p>
          </p:txBody>
        </p:sp>
        <p:sp>
          <p:nvSpPr>
            <p:cNvPr id="13" name="Rounded Rectangle 1">
              <a:extLst>
                <a:ext uri="{FF2B5EF4-FFF2-40B4-BE49-F238E27FC236}">
                  <a16:creationId xmlns:a16="http://schemas.microsoft.com/office/drawing/2014/main" id="{6010EE84-A73C-DEC5-1BAF-BEC65979DB09}"/>
                </a:ext>
              </a:extLst>
            </p:cNvPr>
            <p:cNvSpPr/>
            <p:nvPr/>
          </p:nvSpPr>
          <p:spPr>
            <a:xfrm>
              <a:off x="6767853" y="4898190"/>
              <a:ext cx="1515600" cy="16992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black"/>
                  </a:solidFill>
                  <a:effectLst/>
                  <a:uLnTx/>
                  <a:uFillTx/>
                  <a:latin typeface="Calibri" panose="020F0502020204030204"/>
                  <a:ea typeface="+mn-ea"/>
                  <a:cs typeface="+mn-cs"/>
                </a:rPr>
                <a:t>Samarbeidsavtale</a:t>
              </a:r>
              <a:br>
                <a:rPr kumimoji="0" lang="nb-NO" sz="16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78019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a:extLst>
              <a:ext uri="{FF2B5EF4-FFF2-40B4-BE49-F238E27FC236}">
                <a16:creationId xmlns:a16="http://schemas.microsoft.com/office/drawing/2014/main" id="{9F24E689-503B-680D-FA45-A0B75FB0BDCD}"/>
              </a:ext>
            </a:extLst>
          </p:cNvPr>
          <p:cNvSpPr/>
          <p:nvPr/>
        </p:nvSpPr>
        <p:spPr>
          <a:xfrm>
            <a:off x="797214" y="1062638"/>
            <a:ext cx="1989075" cy="7972788"/>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prstClr val="white"/>
                </a:solidFill>
                <a:effectLst/>
                <a:uLnTx/>
                <a:uFillTx/>
                <a:latin typeface="Calibri" panose="020F0502020204030204"/>
                <a:ea typeface="+mn-ea"/>
                <a:cs typeface="+mn-cs"/>
              </a:rPr>
              <a:t>Utviklingsfaser</a:t>
            </a:r>
            <a:endParaRPr kumimoji="0" lang="nb-NO"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ounded Rectangle 23">
            <a:extLst>
              <a:ext uri="{FF2B5EF4-FFF2-40B4-BE49-F238E27FC236}">
                <a16:creationId xmlns:a16="http://schemas.microsoft.com/office/drawing/2014/main" id="{A9F11BC0-46EE-7493-92C6-92642CD2DFFF}"/>
              </a:ext>
            </a:extLst>
          </p:cNvPr>
          <p:cNvSpPr/>
          <p:nvPr/>
        </p:nvSpPr>
        <p:spPr>
          <a:xfrm>
            <a:off x="10263429" y="180003"/>
            <a:ext cx="2184623" cy="1021955"/>
          </a:xfrm>
          <a:prstGeom prst="roundRect">
            <a:avLst/>
          </a:prstGeom>
        </p:spPr>
        <p:style>
          <a:lnRef idx="1">
            <a:schemeClr val="accent2"/>
          </a:lnRef>
          <a:fillRef idx="2">
            <a:schemeClr val="accent2"/>
          </a:fillRef>
          <a:effectRef idx="1">
            <a:schemeClr val="accent2"/>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Styrende </a:t>
            </a:r>
          </a:p>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organ</a:t>
            </a: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Bent Arrow 20">
            <a:extLst>
              <a:ext uri="{FF2B5EF4-FFF2-40B4-BE49-F238E27FC236}">
                <a16:creationId xmlns:a16="http://schemas.microsoft.com/office/drawing/2014/main" id="{CCA65F39-A70C-4C0C-A0DC-29D6E1319CD9}"/>
              </a:ext>
            </a:extLst>
          </p:cNvPr>
          <p:cNvSpPr/>
          <p:nvPr/>
        </p:nvSpPr>
        <p:spPr>
          <a:xfrm rot="10800000">
            <a:off x="15284267" y="2158609"/>
            <a:ext cx="525753" cy="6302648"/>
          </a:xfrm>
          <a:prstGeom prst="bentArrow">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ounded Rectangle 16">
            <a:extLst>
              <a:ext uri="{FF2B5EF4-FFF2-40B4-BE49-F238E27FC236}">
                <a16:creationId xmlns:a16="http://schemas.microsoft.com/office/drawing/2014/main" id="{5C8F4483-CFE7-4714-A708-3B37BB7A30B9}"/>
              </a:ext>
            </a:extLst>
          </p:cNvPr>
          <p:cNvSpPr/>
          <p:nvPr/>
        </p:nvSpPr>
        <p:spPr>
          <a:xfrm>
            <a:off x="290508" y="7398665"/>
            <a:ext cx="14730561" cy="1523851"/>
          </a:xfrm>
          <a:prstGeom prst="roundRect">
            <a:avLst/>
          </a:prstGeom>
        </p:spPr>
        <p:style>
          <a:lnRef idx="1">
            <a:schemeClr val="accent5"/>
          </a:lnRef>
          <a:fillRef idx="2">
            <a:schemeClr val="accent5"/>
          </a:fillRef>
          <a:effectRef idx="1">
            <a:schemeClr val="accent5"/>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4 Løpende forvaltning og drift</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Gjøres hos de involverte aktørene. Vedlikehold ordningen slik at den ivaretar </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og øker sin verdi. Tilpass nye juridiske og organisatoriske krav, samt datakvalitet og </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nye aktørers behov. Hold tritt med teknologiutvikling.</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Egnet styringsmodell. Sikre finansiering av ordningen over budsjett og tildelingsbrev</a:t>
            </a:r>
          </a:p>
        </p:txBody>
      </p:sp>
      <p:sp>
        <p:nvSpPr>
          <p:cNvPr id="16" name="Rounded Rectangle 15">
            <a:extLst>
              <a:ext uri="{FF2B5EF4-FFF2-40B4-BE49-F238E27FC236}">
                <a16:creationId xmlns:a16="http://schemas.microsoft.com/office/drawing/2014/main" id="{F48A3AA3-C7CC-CC4C-E9A8-2C40A4BCE40B}"/>
              </a:ext>
            </a:extLst>
          </p:cNvPr>
          <p:cNvSpPr/>
          <p:nvPr/>
        </p:nvSpPr>
        <p:spPr>
          <a:xfrm>
            <a:off x="290508" y="5458819"/>
            <a:ext cx="14730561" cy="1673045"/>
          </a:xfrm>
          <a:prstGeom prst="roundRect">
            <a:avLst/>
          </a:prstGeom>
        </p:spPr>
        <p:style>
          <a:lnRef idx="1">
            <a:schemeClr val="accent5"/>
          </a:lnRef>
          <a:fillRef idx="2">
            <a:schemeClr val="accent5"/>
          </a:fillRef>
          <a:effectRef idx="1">
            <a:schemeClr val="accent5"/>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3 Beslutt rammer og standarder (EIF)</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Sikre utvikling av juridiske og organisatoriske rammer (eks. forskrift, </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tildelingsbrev mm.). Bestem finansierings- og styringsmodell for denne ordningen. </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Bestem standarder for prosesser, data, grensesnitt og teknologi .</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Dokumenter og forankre verdi. Forpliktende plan med datoer og finansiering. </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Sikre forankring hos beslutningstagere og politikere</a:t>
            </a:r>
          </a:p>
        </p:txBody>
      </p:sp>
      <p:sp>
        <p:nvSpPr>
          <p:cNvPr id="15" name="Rounded Rectangle 14">
            <a:extLst>
              <a:ext uri="{FF2B5EF4-FFF2-40B4-BE49-F238E27FC236}">
                <a16:creationId xmlns:a16="http://schemas.microsoft.com/office/drawing/2014/main" id="{474D44EC-BBBD-2BAE-9747-68D72C055A5E}"/>
              </a:ext>
            </a:extLst>
          </p:cNvPr>
          <p:cNvSpPr/>
          <p:nvPr/>
        </p:nvSpPr>
        <p:spPr>
          <a:xfrm>
            <a:off x="290508" y="3428240"/>
            <a:ext cx="14730561" cy="1776949"/>
          </a:xfrm>
          <a:prstGeom prst="roundRect">
            <a:avLst/>
          </a:prstGeom>
        </p:spPr>
        <p:style>
          <a:lnRef idx="1">
            <a:schemeClr val="accent5"/>
          </a:lnRef>
          <a:fillRef idx="2">
            <a:schemeClr val="accent5"/>
          </a:fillRef>
          <a:effectRef idx="1">
            <a:schemeClr val="accent5"/>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2 Vurder verdi, avgrens og planlegg</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Vurder verdien på grunndata basert på gruppering av behov med stor nytte / verdi. </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Forstå livsløpet (skap og bruk) og grovestimer innsats for realisering. </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Avgrens mot andre grunndata. Beskriv behov for juridiske og </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organisatoriske rammer. Angi alternative løsninger.</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Sikre støtte hos involverte aktører og beslutningstagere.</a:t>
            </a:r>
          </a:p>
        </p:txBody>
      </p:sp>
      <p:sp>
        <p:nvSpPr>
          <p:cNvPr id="4" name="Rounded Rectangle 3">
            <a:extLst>
              <a:ext uri="{FF2B5EF4-FFF2-40B4-BE49-F238E27FC236}">
                <a16:creationId xmlns:a16="http://schemas.microsoft.com/office/drawing/2014/main" id="{8FE468A6-9AC3-7E59-4FE7-9C1C9180A12D}"/>
              </a:ext>
            </a:extLst>
          </p:cNvPr>
          <p:cNvSpPr/>
          <p:nvPr/>
        </p:nvSpPr>
        <p:spPr>
          <a:xfrm>
            <a:off x="290508" y="1644313"/>
            <a:ext cx="14730561" cy="1523851"/>
          </a:xfrm>
          <a:prstGeom prst="roundRect">
            <a:avLst/>
          </a:prstGeom>
        </p:spPr>
        <p:style>
          <a:lnRef idx="1">
            <a:schemeClr val="accent5"/>
          </a:lnRef>
          <a:fillRef idx="2">
            <a:schemeClr val="accent5"/>
          </a:fillRef>
          <a:effectRef idx="1">
            <a:schemeClr val="accent5"/>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1 Behov</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Identifiser forvaltnings-/forretningsbehov og potensiale</a:t>
            </a:r>
            <a:b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br>
            <a:r>
              <a:rPr kumimoji="0" lang="nb-NO" sz="1600" b="0" i="0" u="none" strike="noStrike" kern="1200" cap="none" spc="0" normalizeH="0" baseline="0" noProof="0">
                <a:ln>
                  <a:noFill/>
                </a:ln>
                <a:solidFill>
                  <a:srgbClr val="1E2B3C"/>
                </a:solidFill>
                <a:effectLst/>
                <a:uLnTx/>
                <a:uFillTx/>
                <a:latin typeface="Calibri" panose="020F0502020204030204"/>
                <a:ea typeface="+mn-ea"/>
                <a:cs typeface="+mn-cs"/>
              </a:rPr>
              <a:t>Sikre støtte hos involverte aktører og beslutningstagere</a:t>
            </a:r>
          </a:p>
        </p:txBody>
      </p:sp>
      <p:sp>
        <p:nvSpPr>
          <p:cNvPr id="9" name="Rounded Rectangle 8">
            <a:extLst>
              <a:ext uri="{FF2B5EF4-FFF2-40B4-BE49-F238E27FC236}">
                <a16:creationId xmlns:a16="http://schemas.microsoft.com/office/drawing/2014/main" id="{09179545-E95B-5D3B-C9C8-B6229BFC047A}"/>
              </a:ext>
            </a:extLst>
          </p:cNvPr>
          <p:cNvSpPr/>
          <p:nvPr/>
        </p:nvSpPr>
        <p:spPr>
          <a:xfrm>
            <a:off x="11525790" y="1062638"/>
            <a:ext cx="3193992" cy="7972789"/>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prstClr val="white"/>
                </a:solidFill>
                <a:effectLst/>
                <a:uLnTx/>
                <a:uFillTx/>
                <a:latin typeface="Calibri" panose="020F0502020204030204"/>
                <a:ea typeface="+mn-ea"/>
                <a:cs typeface="+mn-cs"/>
              </a:rPr>
              <a:t>Aktører og roller</a:t>
            </a:r>
          </a:p>
        </p:txBody>
      </p:sp>
      <p:sp>
        <p:nvSpPr>
          <p:cNvPr id="13" name="Rounded Rectangle 12">
            <a:extLst>
              <a:ext uri="{FF2B5EF4-FFF2-40B4-BE49-F238E27FC236}">
                <a16:creationId xmlns:a16="http://schemas.microsoft.com/office/drawing/2014/main" id="{57F13C7E-F0AD-14E4-DDFF-7B48B845E225}"/>
              </a:ext>
            </a:extLst>
          </p:cNvPr>
          <p:cNvSpPr/>
          <p:nvPr/>
        </p:nvSpPr>
        <p:spPr>
          <a:xfrm>
            <a:off x="11655167" y="1644313"/>
            <a:ext cx="2424355" cy="4510887"/>
          </a:xfrm>
          <a:prstGeom prst="roundRect">
            <a:avLst/>
          </a:prstGeom>
        </p:spPr>
        <p:style>
          <a:lnRef idx="1">
            <a:schemeClr val="accent2"/>
          </a:lnRef>
          <a:fillRef idx="2">
            <a:schemeClr val="accent2"/>
          </a:fillRef>
          <a:effectRef idx="1">
            <a:schemeClr val="accent2"/>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Grunndatakoordinator  </a:t>
            </a: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Rounded Rectangle 13">
            <a:extLst>
              <a:ext uri="{FF2B5EF4-FFF2-40B4-BE49-F238E27FC236}">
                <a16:creationId xmlns:a16="http://schemas.microsoft.com/office/drawing/2014/main" id="{FAD47795-5AED-2B09-550D-5EAD6B01E85C}"/>
              </a:ext>
            </a:extLst>
          </p:cNvPr>
          <p:cNvSpPr/>
          <p:nvPr/>
        </p:nvSpPr>
        <p:spPr>
          <a:xfrm>
            <a:off x="12559542" y="4225281"/>
            <a:ext cx="2066778" cy="4570827"/>
          </a:xfrm>
          <a:prstGeom prst="roundRect">
            <a:avLst/>
          </a:prstGeom>
        </p:spPr>
        <p:style>
          <a:lnRef idx="1">
            <a:schemeClr val="accent2"/>
          </a:lnRef>
          <a:fillRef idx="2">
            <a:schemeClr val="accent2"/>
          </a:fillRef>
          <a:effectRef idx="1">
            <a:schemeClr val="accent2"/>
          </a:effectRef>
          <a:fontRef idx="minor">
            <a:schemeClr val="dk1"/>
          </a:fontRef>
        </p:style>
        <p:txBody>
          <a:bodyPr rtlCol="0" anchor="t" anchorCtr="0"/>
          <a:lstStyle/>
          <a:p>
            <a:pPr marL="0" marR="0" lvl="0" indent="0" algn="r"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Aktør</a:t>
            </a:r>
            <a:r>
              <a:rPr kumimoji="0" lang="nb-NO" sz="1600" b="0" i="0" u="none" strike="noStrike" kern="1200" cap="none" spc="0" normalizeH="0" baseline="0" noProof="0">
                <a:ln>
                  <a:noFill/>
                </a:ln>
                <a:solidFill>
                  <a:prstClr val="black"/>
                </a:solidFill>
                <a:effectLst/>
                <a:uLnTx/>
                <a:uFillTx/>
                <a:latin typeface="Calibri" panose="020F0502020204030204"/>
                <a:ea typeface="+mn-ea"/>
                <a:cs typeface="+mn-cs"/>
              </a:rPr>
              <a:t> (statlig, kommunal, </a:t>
            </a:r>
            <a:br>
              <a:rPr kumimoji="0" lang="nb-NO" sz="1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nb-NO" sz="1600" b="0" i="0" u="none" strike="noStrike" kern="1200" cap="none" spc="0" normalizeH="0" baseline="0" noProof="0">
                <a:ln>
                  <a:noFill/>
                </a:ln>
                <a:solidFill>
                  <a:prstClr val="black"/>
                </a:solidFill>
                <a:effectLst/>
                <a:uLnTx/>
                <a:uFillTx/>
                <a:latin typeface="Calibri" panose="020F0502020204030204"/>
                <a:ea typeface="+mn-ea"/>
                <a:cs typeface="+mn-cs"/>
              </a:rPr>
              <a:t>privat, mm)</a:t>
            </a: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B302BDB5-6638-962F-60C1-0656FB5097F7}"/>
              </a:ext>
            </a:extLst>
          </p:cNvPr>
          <p:cNvSpPr txBox="1"/>
          <p:nvPr/>
        </p:nvSpPr>
        <p:spPr>
          <a:xfrm>
            <a:off x="290508" y="168642"/>
            <a:ext cx="9497280" cy="461665"/>
          </a:xfrm>
          <a:prstGeom prst="rect">
            <a:avLst/>
          </a:prstGeom>
          <a:noFill/>
        </p:spPr>
        <p:txBody>
          <a:bodyPr wrap="none" rtlCol="0">
            <a:sp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Utviklingsfaser og styringssystem nasjonale grunndata (prosesser) - utvidet</a:t>
            </a:r>
          </a:p>
        </p:txBody>
      </p:sp>
      <p:sp>
        <p:nvSpPr>
          <p:cNvPr id="20" name="Bent Arrow 19">
            <a:extLst>
              <a:ext uri="{FF2B5EF4-FFF2-40B4-BE49-F238E27FC236}">
                <a16:creationId xmlns:a16="http://schemas.microsoft.com/office/drawing/2014/main" id="{9B993288-3FD7-9DB6-506C-467841949C7C}"/>
              </a:ext>
            </a:extLst>
          </p:cNvPr>
          <p:cNvSpPr/>
          <p:nvPr/>
        </p:nvSpPr>
        <p:spPr>
          <a:xfrm>
            <a:off x="15066382" y="2102153"/>
            <a:ext cx="525753" cy="6302648"/>
          </a:xfrm>
          <a:prstGeom prst="bentArrow">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Rounded Rectangle 2">
            <a:extLst>
              <a:ext uri="{FF2B5EF4-FFF2-40B4-BE49-F238E27FC236}">
                <a16:creationId xmlns:a16="http://schemas.microsoft.com/office/drawing/2014/main" id="{9AD5C45B-54CC-5636-CBD5-B0C9540B7B48}"/>
              </a:ext>
            </a:extLst>
          </p:cNvPr>
          <p:cNvSpPr/>
          <p:nvPr/>
        </p:nvSpPr>
        <p:spPr>
          <a:xfrm>
            <a:off x="12688408" y="6911195"/>
            <a:ext cx="1821676" cy="974940"/>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Domeneansvarlige og) grunndataforvaltere</a:t>
            </a:r>
          </a:p>
        </p:txBody>
      </p:sp>
      <p:sp>
        <p:nvSpPr>
          <p:cNvPr id="23" name="TextBox 22">
            <a:extLst>
              <a:ext uri="{FF2B5EF4-FFF2-40B4-BE49-F238E27FC236}">
                <a16:creationId xmlns:a16="http://schemas.microsoft.com/office/drawing/2014/main" id="{0235D5CB-9418-1873-18A3-B4D11025C3F5}"/>
              </a:ext>
            </a:extLst>
          </p:cNvPr>
          <p:cNvSpPr txBox="1"/>
          <p:nvPr/>
        </p:nvSpPr>
        <p:spPr>
          <a:xfrm rot="16200000">
            <a:off x="13248858" y="5120203"/>
            <a:ext cx="4330032" cy="379463"/>
          </a:xfrm>
          <a:prstGeom prst="rect">
            <a:avLst/>
          </a:prstGeom>
          <a:noFill/>
        </p:spPr>
        <p:txBody>
          <a:bodyPr wrap="none" rtlCol="0">
            <a:sp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srgbClr val="1E2B3C"/>
                </a:solidFill>
                <a:effectLst/>
                <a:uLnTx/>
                <a:uFillTx/>
                <a:latin typeface="Arial" panose="020B0604020202020204"/>
                <a:ea typeface="+mn-ea"/>
                <a:cs typeface="+mn-cs"/>
              </a:rPr>
              <a:t>Utvikling drevet av verdi og politisk vilje</a:t>
            </a:r>
          </a:p>
        </p:txBody>
      </p:sp>
      <p:pic>
        <p:nvPicPr>
          <p:cNvPr id="34" name="Graphic 33" descr="Priorities with solid fill">
            <a:extLst>
              <a:ext uri="{FF2B5EF4-FFF2-40B4-BE49-F238E27FC236}">
                <a16:creationId xmlns:a16="http://schemas.microsoft.com/office/drawing/2014/main" id="{4B255BFA-9A45-758F-07B7-553C77641F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03218" y="291166"/>
            <a:ext cx="514040" cy="514040"/>
          </a:xfrm>
          <a:prstGeom prst="rect">
            <a:avLst/>
          </a:prstGeom>
        </p:spPr>
      </p:pic>
      <p:pic>
        <p:nvPicPr>
          <p:cNvPr id="36" name="Graphic 35" descr="Fast Forward with solid fill">
            <a:extLst>
              <a:ext uri="{FF2B5EF4-FFF2-40B4-BE49-F238E27FC236}">
                <a16:creationId xmlns:a16="http://schemas.microsoft.com/office/drawing/2014/main" id="{8C3CB474-0D6E-E310-1EA0-610E7338D9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816712" y="279328"/>
            <a:ext cx="529680" cy="529680"/>
          </a:xfrm>
          <a:prstGeom prst="rect">
            <a:avLst/>
          </a:prstGeom>
        </p:spPr>
      </p:pic>
      <p:grpSp>
        <p:nvGrpSpPr>
          <p:cNvPr id="5" name="Gruppe 4">
            <a:extLst>
              <a:ext uri="{FF2B5EF4-FFF2-40B4-BE49-F238E27FC236}">
                <a16:creationId xmlns:a16="http://schemas.microsoft.com/office/drawing/2014/main" id="{C2573CA1-DCE5-D3EB-8C4E-37EC2B00A9A6}"/>
              </a:ext>
            </a:extLst>
          </p:cNvPr>
          <p:cNvGrpSpPr/>
          <p:nvPr/>
        </p:nvGrpSpPr>
        <p:grpSpPr>
          <a:xfrm>
            <a:off x="8071992" y="1062638"/>
            <a:ext cx="2986178" cy="7972789"/>
            <a:chOff x="6707857" y="814139"/>
            <a:chExt cx="1956092" cy="5980176"/>
          </a:xfrm>
        </p:grpSpPr>
        <p:sp>
          <p:nvSpPr>
            <p:cNvPr id="6" name="Rounded Rectangle 7">
              <a:extLst>
                <a:ext uri="{FF2B5EF4-FFF2-40B4-BE49-F238E27FC236}">
                  <a16:creationId xmlns:a16="http://schemas.microsoft.com/office/drawing/2014/main" id="{5A93D073-E306-1C49-36D7-B9AB0D490B31}"/>
                </a:ext>
              </a:extLst>
            </p:cNvPr>
            <p:cNvSpPr/>
            <p:nvPr/>
          </p:nvSpPr>
          <p:spPr>
            <a:xfrm>
              <a:off x="6707857" y="814139"/>
              <a:ext cx="1956092" cy="5980176"/>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prstClr val="white"/>
                  </a:solidFill>
                  <a:effectLst/>
                  <a:uLnTx/>
                  <a:uFillTx/>
                  <a:latin typeface="Calibri" panose="020F0502020204030204"/>
                  <a:ea typeface="+mn-ea"/>
                  <a:cs typeface="+mn-cs"/>
                </a:rPr>
                <a:t>Utvikling</a:t>
              </a:r>
            </a:p>
          </p:txBody>
        </p:sp>
        <p:sp>
          <p:nvSpPr>
            <p:cNvPr id="7" name="Rounded Rectangle 9">
              <a:extLst>
                <a:ext uri="{FF2B5EF4-FFF2-40B4-BE49-F238E27FC236}">
                  <a16:creationId xmlns:a16="http://schemas.microsoft.com/office/drawing/2014/main" id="{3C8BE12C-00E6-60C3-9F27-F65A36AFA99B}"/>
                </a:ext>
              </a:extLst>
            </p:cNvPr>
            <p:cNvSpPr/>
            <p:nvPr/>
          </p:nvSpPr>
          <p:spPr>
            <a:xfrm>
              <a:off x="6759144" y="1210012"/>
              <a:ext cx="1863696" cy="16992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Kunnskaps- og beslutningsunderlag </a:t>
              </a: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intensjonsavtale)</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avgrensning</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forankring</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gevinster</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kostnader</a:t>
              </a: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ounded Rectangle 10">
              <a:extLst>
                <a:ext uri="{FF2B5EF4-FFF2-40B4-BE49-F238E27FC236}">
                  <a16:creationId xmlns:a16="http://schemas.microsoft.com/office/drawing/2014/main" id="{8FAD22D5-62DE-86C0-55F3-1CB992BFCA43}"/>
                </a:ext>
              </a:extLst>
            </p:cNvPr>
            <p:cNvSpPr/>
            <p:nvPr/>
          </p:nvSpPr>
          <p:spPr>
            <a:xfrm>
              <a:off x="6759144" y="3063073"/>
              <a:ext cx="1859980" cy="1698674"/>
            </a:xfrm>
            <a:prstGeom prst="roundRect">
              <a:avLst/>
            </a:prstGeom>
          </p:spPr>
          <p:style>
            <a:lnRef idx="1">
              <a:schemeClr val="accent4"/>
            </a:lnRef>
            <a:fillRef idx="2">
              <a:schemeClr val="accent4"/>
            </a:fillRef>
            <a:effectRef idx="1">
              <a:schemeClr val="accent4"/>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Konkret beslutningsunderlag </a:t>
              </a: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utviklingsavtale)</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finansiering</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organisering</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styring</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realisering</a:t>
              </a:r>
            </a:p>
          </p:txBody>
        </p:sp>
        <p:sp>
          <p:nvSpPr>
            <p:cNvPr id="26" name="Rounded Rectangle 1">
              <a:extLst>
                <a:ext uri="{FF2B5EF4-FFF2-40B4-BE49-F238E27FC236}">
                  <a16:creationId xmlns:a16="http://schemas.microsoft.com/office/drawing/2014/main" id="{BC90F2EE-DF89-161A-92EF-A354805E2C74}"/>
                </a:ext>
              </a:extLst>
            </p:cNvPr>
            <p:cNvSpPr/>
            <p:nvPr/>
          </p:nvSpPr>
          <p:spPr>
            <a:xfrm>
              <a:off x="6759144" y="4915608"/>
              <a:ext cx="1859980" cy="16992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Samarbeidsavtale</a:t>
              </a:r>
              <a:b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Standardisering av</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juss</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organisatorisk</a:t>
              </a:r>
            </a:p>
            <a:p>
              <a:pPr marL="228577" marR="0" lvl="0" indent="-228577" algn="l"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67" b="0" i="0" u="none" strike="noStrike" kern="1200" cap="none" spc="0" normalizeH="0" baseline="0" noProof="0">
                  <a:ln>
                    <a:noFill/>
                  </a:ln>
                  <a:solidFill>
                    <a:prstClr val="black"/>
                  </a:solidFill>
                  <a:effectLst/>
                  <a:uLnTx/>
                  <a:uFillTx/>
                  <a:latin typeface="Calibri" panose="020F0502020204030204"/>
                  <a:ea typeface="+mn-ea"/>
                  <a:cs typeface="+mn-cs"/>
                </a:rPr>
                <a:t>forvaltning</a:t>
              </a: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65468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843689-7D38-3033-5670-C56BA4CADA9E}"/>
            </a:ext>
          </a:extLst>
        </p:cNvPr>
        <p:cNvGrpSpPr/>
        <p:nvPr/>
      </p:nvGrpSpPr>
      <p:grpSpPr>
        <a:xfrm>
          <a:off x="0" y="0"/>
          <a:ext cx="0" cy="0"/>
          <a:chOff x="0" y="0"/>
          <a:chExt cx="0" cy="0"/>
        </a:xfrm>
      </p:grpSpPr>
      <p:sp>
        <p:nvSpPr>
          <p:cNvPr id="19" name="Rounded Rectangle 18">
            <a:extLst>
              <a:ext uri="{FF2B5EF4-FFF2-40B4-BE49-F238E27FC236}">
                <a16:creationId xmlns:a16="http://schemas.microsoft.com/office/drawing/2014/main" id="{EBFC272C-551F-EADC-958F-1BAB99EF1996}"/>
              </a:ext>
            </a:extLst>
          </p:cNvPr>
          <p:cNvSpPr/>
          <p:nvPr/>
        </p:nvSpPr>
        <p:spPr>
          <a:xfrm>
            <a:off x="797214" y="1062638"/>
            <a:ext cx="1989075" cy="7972788"/>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prstClr val="white"/>
                </a:solidFill>
                <a:effectLst/>
                <a:uLnTx/>
                <a:uFillTx/>
                <a:latin typeface="Calibri" panose="020F0502020204030204"/>
                <a:ea typeface="+mn-ea"/>
                <a:cs typeface="+mn-cs"/>
              </a:rPr>
              <a:t>Utviklingsfaser</a:t>
            </a:r>
            <a:endParaRPr kumimoji="0" lang="nb-NO"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ounded Rectangle 23">
            <a:extLst>
              <a:ext uri="{FF2B5EF4-FFF2-40B4-BE49-F238E27FC236}">
                <a16:creationId xmlns:a16="http://schemas.microsoft.com/office/drawing/2014/main" id="{2DD52949-3CED-5E83-3817-58406C50E9D5}"/>
              </a:ext>
            </a:extLst>
          </p:cNvPr>
          <p:cNvSpPr/>
          <p:nvPr/>
        </p:nvSpPr>
        <p:spPr>
          <a:xfrm>
            <a:off x="10263429" y="180003"/>
            <a:ext cx="2184623" cy="1021955"/>
          </a:xfrm>
          <a:prstGeom prst="roundRect">
            <a:avLst/>
          </a:prstGeom>
        </p:spPr>
        <p:style>
          <a:lnRef idx="1">
            <a:schemeClr val="accent2"/>
          </a:lnRef>
          <a:fillRef idx="2">
            <a:schemeClr val="accent2"/>
          </a:fillRef>
          <a:effectRef idx="1">
            <a:schemeClr val="accent2"/>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Styrende </a:t>
            </a:r>
          </a:p>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organ</a:t>
            </a: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ounded Rectangle 16">
            <a:extLst>
              <a:ext uri="{FF2B5EF4-FFF2-40B4-BE49-F238E27FC236}">
                <a16:creationId xmlns:a16="http://schemas.microsoft.com/office/drawing/2014/main" id="{11343EBB-9E56-EB98-B4AC-A21F7661C444}"/>
              </a:ext>
            </a:extLst>
          </p:cNvPr>
          <p:cNvSpPr/>
          <p:nvPr/>
        </p:nvSpPr>
        <p:spPr>
          <a:xfrm>
            <a:off x="290508" y="7398665"/>
            <a:ext cx="14730561" cy="1523851"/>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4 Løpende forvaltning og drift</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p:txBody>
      </p:sp>
      <p:sp>
        <p:nvSpPr>
          <p:cNvPr id="16" name="Rounded Rectangle 15">
            <a:extLst>
              <a:ext uri="{FF2B5EF4-FFF2-40B4-BE49-F238E27FC236}">
                <a16:creationId xmlns:a16="http://schemas.microsoft.com/office/drawing/2014/main" id="{20529462-161E-C654-C605-9DE7510DF406}"/>
              </a:ext>
            </a:extLst>
          </p:cNvPr>
          <p:cNvSpPr/>
          <p:nvPr/>
        </p:nvSpPr>
        <p:spPr>
          <a:xfrm>
            <a:off x="290508" y="5458819"/>
            <a:ext cx="14730561" cy="1673045"/>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3 Beslutt rammer og standarder </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p:txBody>
      </p:sp>
      <p:sp>
        <p:nvSpPr>
          <p:cNvPr id="15" name="Rounded Rectangle 14">
            <a:extLst>
              <a:ext uri="{FF2B5EF4-FFF2-40B4-BE49-F238E27FC236}">
                <a16:creationId xmlns:a16="http://schemas.microsoft.com/office/drawing/2014/main" id="{C1306C3A-9343-06FE-7E9F-E99CB5DAD892}"/>
              </a:ext>
            </a:extLst>
          </p:cNvPr>
          <p:cNvSpPr/>
          <p:nvPr/>
        </p:nvSpPr>
        <p:spPr>
          <a:xfrm>
            <a:off x="290508" y="3428240"/>
            <a:ext cx="14730561" cy="1776949"/>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2 Vurder verdi, avgrens og planlegg</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p:txBody>
      </p:sp>
      <p:sp>
        <p:nvSpPr>
          <p:cNvPr id="4" name="Rounded Rectangle 3">
            <a:extLst>
              <a:ext uri="{FF2B5EF4-FFF2-40B4-BE49-F238E27FC236}">
                <a16:creationId xmlns:a16="http://schemas.microsoft.com/office/drawing/2014/main" id="{D6C4BB75-C1BA-62D9-2FAA-4BEEA66CF99D}"/>
              </a:ext>
            </a:extLst>
          </p:cNvPr>
          <p:cNvSpPr/>
          <p:nvPr/>
        </p:nvSpPr>
        <p:spPr>
          <a:xfrm>
            <a:off x="290508" y="1644313"/>
            <a:ext cx="14730561" cy="1523851"/>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1" i="0" u="none" strike="noStrike" kern="1200" cap="none" spc="0" normalizeH="0" baseline="0" noProof="0">
                <a:ln>
                  <a:noFill/>
                </a:ln>
                <a:solidFill>
                  <a:srgbClr val="1E2B3C"/>
                </a:solidFill>
                <a:effectLst/>
                <a:uLnTx/>
                <a:uFillTx/>
                <a:latin typeface="Calibri" panose="020F0502020204030204"/>
                <a:ea typeface="+mn-ea"/>
                <a:cs typeface="+mn-cs"/>
              </a:rPr>
              <a:t>1 Behov</a:t>
            </a:r>
            <a:endParaRPr kumimoji="0" lang="nb-NO" sz="1600" b="1" i="0" u="none" strike="noStrike" kern="1200" cap="none" spc="0" normalizeH="0" baseline="0" noProof="0">
              <a:ln>
                <a:noFill/>
              </a:ln>
              <a:solidFill>
                <a:srgbClr val="1E2B3C"/>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1C99688B-E5F1-50DC-FE0B-1204527B79F3}"/>
              </a:ext>
            </a:extLst>
          </p:cNvPr>
          <p:cNvSpPr txBox="1"/>
          <p:nvPr/>
        </p:nvSpPr>
        <p:spPr>
          <a:xfrm>
            <a:off x="290508" y="168641"/>
            <a:ext cx="8411213" cy="461665"/>
          </a:xfrm>
          <a:prstGeom prst="rect">
            <a:avLst/>
          </a:prstGeom>
          <a:noFill/>
        </p:spPr>
        <p:txBody>
          <a:bodyPr wrap="none" rtlCol="0">
            <a:sp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Utviklingsfaser nasjonale grunndata (prosesser) – ønsket situasjon</a:t>
            </a:r>
          </a:p>
        </p:txBody>
      </p:sp>
      <p:grpSp>
        <p:nvGrpSpPr>
          <p:cNvPr id="5" name="Gruppe 4">
            <a:extLst>
              <a:ext uri="{FF2B5EF4-FFF2-40B4-BE49-F238E27FC236}">
                <a16:creationId xmlns:a16="http://schemas.microsoft.com/office/drawing/2014/main" id="{3BD96E32-5F54-6E49-68A3-B603031286AF}"/>
              </a:ext>
            </a:extLst>
          </p:cNvPr>
          <p:cNvGrpSpPr/>
          <p:nvPr/>
        </p:nvGrpSpPr>
        <p:grpSpPr>
          <a:xfrm>
            <a:off x="8872609" y="1062638"/>
            <a:ext cx="2297961" cy="7972789"/>
            <a:chOff x="6707857" y="796721"/>
            <a:chExt cx="1638626" cy="5980176"/>
          </a:xfrm>
        </p:grpSpPr>
        <p:sp>
          <p:nvSpPr>
            <p:cNvPr id="7" name="Rounded Rectangle 7">
              <a:extLst>
                <a:ext uri="{FF2B5EF4-FFF2-40B4-BE49-F238E27FC236}">
                  <a16:creationId xmlns:a16="http://schemas.microsoft.com/office/drawing/2014/main" id="{9B74BEBB-3FD2-C38B-B6D0-0B14B6D649B2}"/>
                </a:ext>
              </a:extLst>
            </p:cNvPr>
            <p:cNvSpPr/>
            <p:nvPr/>
          </p:nvSpPr>
          <p:spPr>
            <a:xfrm>
              <a:off x="6707857" y="796721"/>
              <a:ext cx="1638626" cy="5980176"/>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prstClr val="white"/>
                  </a:solidFill>
                  <a:effectLst/>
                  <a:uLnTx/>
                  <a:uFillTx/>
                  <a:latin typeface="Calibri" panose="020F0502020204030204"/>
                  <a:ea typeface="+mn-ea"/>
                  <a:cs typeface="+mn-cs"/>
                </a:rPr>
                <a:t>Utvikling</a:t>
              </a:r>
            </a:p>
          </p:txBody>
        </p:sp>
        <p:sp>
          <p:nvSpPr>
            <p:cNvPr id="8" name="Rounded Rectangle 9">
              <a:extLst>
                <a:ext uri="{FF2B5EF4-FFF2-40B4-BE49-F238E27FC236}">
                  <a16:creationId xmlns:a16="http://schemas.microsoft.com/office/drawing/2014/main" id="{F2193975-FBF6-F4C7-908C-59AEDBAE4288}"/>
                </a:ext>
              </a:extLst>
            </p:cNvPr>
            <p:cNvSpPr/>
            <p:nvPr/>
          </p:nvSpPr>
          <p:spPr>
            <a:xfrm>
              <a:off x="6767853" y="1192594"/>
              <a:ext cx="1515600" cy="16992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Kunnskaps- og beslutningsunderlag</a:t>
              </a:r>
            </a:p>
          </p:txBody>
        </p:sp>
        <p:sp>
          <p:nvSpPr>
            <p:cNvPr id="10" name="Rounded Rectangle 10">
              <a:extLst>
                <a:ext uri="{FF2B5EF4-FFF2-40B4-BE49-F238E27FC236}">
                  <a16:creationId xmlns:a16="http://schemas.microsoft.com/office/drawing/2014/main" id="{D69CA434-2DE6-58C2-4C62-682E40DCF494}"/>
                </a:ext>
              </a:extLst>
            </p:cNvPr>
            <p:cNvSpPr/>
            <p:nvPr/>
          </p:nvSpPr>
          <p:spPr>
            <a:xfrm>
              <a:off x="6767853" y="3045655"/>
              <a:ext cx="1516654" cy="1698674"/>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black"/>
                  </a:solidFill>
                  <a:effectLst/>
                  <a:uLnTx/>
                  <a:uFillTx/>
                  <a:latin typeface="Calibri" panose="020F0502020204030204"/>
                  <a:ea typeface="+mn-ea"/>
                  <a:cs typeface="+mn-cs"/>
                </a:rPr>
                <a:t>Konkret beslutningsunderlag</a:t>
              </a:r>
            </a:p>
          </p:txBody>
        </p:sp>
        <p:sp>
          <p:nvSpPr>
            <p:cNvPr id="20" name="Rounded Rectangle 1">
              <a:extLst>
                <a:ext uri="{FF2B5EF4-FFF2-40B4-BE49-F238E27FC236}">
                  <a16:creationId xmlns:a16="http://schemas.microsoft.com/office/drawing/2014/main" id="{FC68825B-153B-DCF8-C08B-4E8B7E370F4E}"/>
                </a:ext>
              </a:extLst>
            </p:cNvPr>
            <p:cNvSpPr/>
            <p:nvPr/>
          </p:nvSpPr>
          <p:spPr>
            <a:xfrm>
              <a:off x="6767853" y="4898190"/>
              <a:ext cx="1515600" cy="16992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nchorCtr="0"/>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black"/>
                  </a:solidFill>
                  <a:effectLst/>
                  <a:uLnTx/>
                  <a:uFillTx/>
                  <a:latin typeface="Calibri" panose="020F0502020204030204"/>
                  <a:ea typeface="+mn-ea"/>
                  <a:cs typeface="+mn-cs"/>
                </a:rPr>
                <a:t>Samarbeidsavtale</a:t>
              </a:r>
              <a:br>
                <a:rPr kumimoji="0" lang="nb-NO" sz="1600" b="1"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1" name="Rounded Rectangle 8">
            <a:extLst>
              <a:ext uri="{FF2B5EF4-FFF2-40B4-BE49-F238E27FC236}">
                <a16:creationId xmlns:a16="http://schemas.microsoft.com/office/drawing/2014/main" id="{E5EAD576-95E1-4652-E87A-C77D4789B33B}"/>
              </a:ext>
            </a:extLst>
          </p:cNvPr>
          <p:cNvSpPr/>
          <p:nvPr/>
        </p:nvSpPr>
        <p:spPr>
          <a:xfrm>
            <a:off x="11463590" y="1077151"/>
            <a:ext cx="3193992" cy="7972789"/>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prstClr val="white"/>
                </a:solidFill>
                <a:effectLst/>
                <a:uLnTx/>
                <a:uFillTx/>
                <a:latin typeface="Calibri" panose="020F0502020204030204"/>
                <a:ea typeface="+mn-ea"/>
                <a:cs typeface="+mn-cs"/>
              </a:rPr>
              <a:t>Organer </a:t>
            </a:r>
          </a:p>
        </p:txBody>
      </p:sp>
      <p:sp>
        <p:nvSpPr>
          <p:cNvPr id="13" name="Rounded Rectangle 12">
            <a:extLst>
              <a:ext uri="{FF2B5EF4-FFF2-40B4-BE49-F238E27FC236}">
                <a16:creationId xmlns:a16="http://schemas.microsoft.com/office/drawing/2014/main" id="{80FE49B5-E04D-63A7-1BF7-BB61617E5A13}"/>
              </a:ext>
            </a:extLst>
          </p:cNvPr>
          <p:cNvSpPr/>
          <p:nvPr/>
        </p:nvSpPr>
        <p:spPr>
          <a:xfrm>
            <a:off x="11655167" y="1644313"/>
            <a:ext cx="2424355" cy="4510887"/>
          </a:xfrm>
          <a:prstGeom prst="roundRect">
            <a:avLst/>
          </a:prstGeom>
        </p:spPr>
        <p:style>
          <a:lnRef idx="1">
            <a:schemeClr val="accent2"/>
          </a:lnRef>
          <a:fillRef idx="2">
            <a:schemeClr val="accent2"/>
          </a:fillRef>
          <a:effectRef idx="1">
            <a:schemeClr val="accent2"/>
          </a:effectRef>
          <a:fontRef idx="minor">
            <a:schemeClr val="dk1"/>
          </a:fontRef>
        </p:style>
        <p:txBody>
          <a:bodyPr rtlCol="0" anchor="t" anchorCtr="0"/>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Grunndatakoordinator  </a:t>
            </a: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Rounded Rectangle 13">
            <a:extLst>
              <a:ext uri="{FF2B5EF4-FFF2-40B4-BE49-F238E27FC236}">
                <a16:creationId xmlns:a16="http://schemas.microsoft.com/office/drawing/2014/main" id="{D4A47E18-A171-DDE4-486B-219898E051C3}"/>
              </a:ext>
            </a:extLst>
          </p:cNvPr>
          <p:cNvSpPr/>
          <p:nvPr/>
        </p:nvSpPr>
        <p:spPr>
          <a:xfrm>
            <a:off x="12497341" y="4225281"/>
            <a:ext cx="2066778" cy="4570827"/>
          </a:xfrm>
          <a:prstGeom prst="roundRect">
            <a:avLst/>
          </a:prstGeom>
        </p:spPr>
        <p:style>
          <a:lnRef idx="1">
            <a:schemeClr val="accent2"/>
          </a:lnRef>
          <a:fillRef idx="2">
            <a:schemeClr val="accent2"/>
          </a:fillRef>
          <a:effectRef idx="1">
            <a:schemeClr val="accent2"/>
          </a:effectRef>
          <a:fontRef idx="minor">
            <a:schemeClr val="dk1"/>
          </a:fontRef>
        </p:style>
        <p:txBody>
          <a:bodyPr rtlCol="0" anchor="t" anchorCtr="0"/>
          <a:lstStyle/>
          <a:p>
            <a:pPr marL="0" marR="0" lvl="0" indent="0" algn="r" defTabSz="1219078"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prstClr val="black"/>
                </a:solidFill>
                <a:effectLst/>
                <a:uLnTx/>
                <a:uFillTx/>
                <a:latin typeface="Calibri" panose="020F0502020204030204"/>
                <a:ea typeface="+mn-ea"/>
                <a:cs typeface="+mn-cs"/>
              </a:rPr>
              <a:t>Aktør</a:t>
            </a:r>
            <a:r>
              <a:rPr kumimoji="0" lang="nb-NO" sz="1600" b="0" i="0" u="none" strike="noStrike" kern="1200" cap="none" spc="0" normalizeH="0" baseline="0" noProof="0">
                <a:ln>
                  <a:noFill/>
                </a:ln>
                <a:solidFill>
                  <a:prstClr val="black"/>
                </a:solidFill>
                <a:effectLst/>
                <a:uLnTx/>
                <a:uFillTx/>
                <a:latin typeface="Calibri" panose="020F0502020204030204"/>
                <a:ea typeface="+mn-ea"/>
                <a:cs typeface="+mn-cs"/>
              </a:rPr>
              <a:t> (statlig, kommunal, </a:t>
            </a:r>
            <a:br>
              <a:rPr kumimoji="0" lang="nb-NO" sz="1600" b="0" i="0" u="none" strike="noStrike" kern="1200" cap="none" spc="0" normalizeH="0" baseline="0" noProof="0">
                <a:ln>
                  <a:noFill/>
                </a:ln>
                <a:solidFill>
                  <a:prstClr val="black"/>
                </a:solidFill>
                <a:effectLst/>
                <a:uLnTx/>
                <a:uFillTx/>
                <a:latin typeface="Calibri" panose="020F0502020204030204"/>
                <a:ea typeface="+mn-ea"/>
                <a:cs typeface="+mn-cs"/>
              </a:rPr>
            </a:br>
            <a:r>
              <a:rPr kumimoji="0" lang="nb-NO" sz="1600" b="0" i="0" u="none" strike="noStrike" kern="1200" cap="none" spc="0" normalizeH="0" baseline="0" noProof="0">
                <a:ln>
                  <a:noFill/>
                </a:ln>
                <a:solidFill>
                  <a:prstClr val="black"/>
                </a:solidFill>
                <a:effectLst/>
                <a:uLnTx/>
                <a:uFillTx/>
                <a:latin typeface="Calibri" panose="020F0502020204030204"/>
                <a:ea typeface="+mn-ea"/>
                <a:cs typeface="+mn-cs"/>
              </a:rPr>
              <a:t>privat, mm)</a:t>
            </a: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5" name="Graphic 33" descr="Priorities with solid fill">
            <a:extLst>
              <a:ext uri="{FF2B5EF4-FFF2-40B4-BE49-F238E27FC236}">
                <a16:creationId xmlns:a16="http://schemas.microsoft.com/office/drawing/2014/main" id="{37A7438A-FAD2-868E-6F85-4916D31260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03218" y="291166"/>
            <a:ext cx="514040" cy="514040"/>
          </a:xfrm>
          <a:prstGeom prst="rect">
            <a:avLst/>
          </a:prstGeom>
        </p:spPr>
      </p:pic>
      <p:pic>
        <p:nvPicPr>
          <p:cNvPr id="26" name="Graphic 35" descr="Fast Forward with solid fill">
            <a:extLst>
              <a:ext uri="{FF2B5EF4-FFF2-40B4-BE49-F238E27FC236}">
                <a16:creationId xmlns:a16="http://schemas.microsoft.com/office/drawing/2014/main" id="{CB27BE45-C51D-B7FE-D3A3-CAEA4FFAE7F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816712" y="279328"/>
            <a:ext cx="529680" cy="529680"/>
          </a:xfrm>
          <a:prstGeom prst="rect">
            <a:avLst/>
          </a:prstGeom>
        </p:spPr>
      </p:pic>
      <p:sp>
        <p:nvSpPr>
          <p:cNvPr id="29" name="Bent Arrow 20">
            <a:extLst>
              <a:ext uri="{FF2B5EF4-FFF2-40B4-BE49-F238E27FC236}">
                <a16:creationId xmlns:a16="http://schemas.microsoft.com/office/drawing/2014/main" id="{E53833C3-8955-837D-9A84-09B2E00484DF}"/>
              </a:ext>
            </a:extLst>
          </p:cNvPr>
          <p:cNvSpPr/>
          <p:nvPr/>
        </p:nvSpPr>
        <p:spPr>
          <a:xfrm rot="10800000">
            <a:off x="15284267" y="2158609"/>
            <a:ext cx="525753" cy="6302648"/>
          </a:xfrm>
          <a:prstGeom prst="bentArrow">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Bent Arrow 19">
            <a:extLst>
              <a:ext uri="{FF2B5EF4-FFF2-40B4-BE49-F238E27FC236}">
                <a16:creationId xmlns:a16="http://schemas.microsoft.com/office/drawing/2014/main" id="{524D337B-665D-626A-18A5-B82CF32D1F12}"/>
              </a:ext>
            </a:extLst>
          </p:cNvPr>
          <p:cNvSpPr/>
          <p:nvPr/>
        </p:nvSpPr>
        <p:spPr>
          <a:xfrm>
            <a:off x="15066382" y="2102153"/>
            <a:ext cx="525753" cy="6302648"/>
          </a:xfrm>
          <a:prstGeom prst="bentArrow">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TextBox 22">
            <a:extLst>
              <a:ext uri="{FF2B5EF4-FFF2-40B4-BE49-F238E27FC236}">
                <a16:creationId xmlns:a16="http://schemas.microsoft.com/office/drawing/2014/main" id="{C4769480-F2EE-93AC-B0E6-85B3A48A32E3}"/>
              </a:ext>
            </a:extLst>
          </p:cNvPr>
          <p:cNvSpPr txBox="1"/>
          <p:nvPr/>
        </p:nvSpPr>
        <p:spPr>
          <a:xfrm rot="16200000">
            <a:off x="13248858" y="5120203"/>
            <a:ext cx="4330032" cy="379463"/>
          </a:xfrm>
          <a:prstGeom prst="rect">
            <a:avLst/>
          </a:prstGeom>
          <a:noFill/>
        </p:spPr>
        <p:txBody>
          <a:bodyPr wrap="none" rtlCol="0">
            <a:sp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nb-NO" sz="1866" b="0" i="0" u="none" strike="noStrike" kern="1200" cap="none" spc="0" normalizeH="0" baseline="0" noProof="0">
                <a:ln>
                  <a:noFill/>
                </a:ln>
                <a:solidFill>
                  <a:srgbClr val="1E2B3C"/>
                </a:solidFill>
                <a:effectLst/>
                <a:uLnTx/>
                <a:uFillTx/>
                <a:latin typeface="Arial" panose="020B0604020202020204"/>
                <a:ea typeface="+mn-ea"/>
                <a:cs typeface="+mn-cs"/>
              </a:rPr>
              <a:t>Utvikling drevet av verdi og politisk vilje</a:t>
            </a:r>
          </a:p>
        </p:txBody>
      </p:sp>
      <p:sp>
        <p:nvSpPr>
          <p:cNvPr id="6" name="Rounded Rectangle 2">
            <a:extLst>
              <a:ext uri="{FF2B5EF4-FFF2-40B4-BE49-F238E27FC236}">
                <a16:creationId xmlns:a16="http://schemas.microsoft.com/office/drawing/2014/main" id="{68784F08-984B-7EBE-574A-D977A4C723D6}"/>
              </a:ext>
            </a:extLst>
          </p:cNvPr>
          <p:cNvSpPr/>
          <p:nvPr/>
        </p:nvSpPr>
        <p:spPr>
          <a:xfrm>
            <a:off x="12688408" y="6911195"/>
            <a:ext cx="1821676" cy="974940"/>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Domeneansvarlige og) grunndataforvaltere</a:t>
            </a:r>
          </a:p>
        </p:txBody>
      </p:sp>
    </p:spTree>
    <p:extLst>
      <p:ext uri="{BB962C8B-B14F-4D97-AF65-F5344CB8AC3E}">
        <p14:creationId xmlns:p14="http://schemas.microsoft.com/office/powerpoint/2010/main" val="32375572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7690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19AEE687-6343-C25E-D43A-A333536724C8}"/>
              </a:ext>
            </a:extLst>
          </p:cNvPr>
          <p:cNvSpPr/>
          <p:nvPr/>
        </p:nvSpPr>
        <p:spPr>
          <a:xfrm>
            <a:off x="9431739" y="1645591"/>
            <a:ext cx="5184000" cy="705880"/>
          </a:xfrm>
          <a:prstGeom prst="rect">
            <a:avLst/>
          </a:prstGeom>
          <a:solidFill>
            <a:schemeClr val="accent1"/>
          </a:solidFill>
          <a:ln>
            <a:solidFill>
              <a:srgbClr val="4472C4"/>
            </a:solidFill>
            <a:extLst>
              <a:ext uri="{C807C97D-BFC1-408E-A445-0C87EB9F89A2}">
                <ask:lineSketchStyleProps xmlns:ask="http://schemas.microsoft.com/office/drawing/2018/sketchyshapes" sd="4005635846">
                  <a:custGeom>
                    <a:avLst/>
                    <a:gdLst>
                      <a:gd name="connsiteX0" fmla="*/ 0 w 2927684"/>
                      <a:gd name="connsiteY0" fmla="*/ 204978 h 1229846"/>
                      <a:gd name="connsiteX1" fmla="*/ 204978 w 2927684"/>
                      <a:gd name="connsiteY1" fmla="*/ 0 h 1229846"/>
                      <a:gd name="connsiteX2" fmla="*/ 708524 w 2927684"/>
                      <a:gd name="connsiteY2" fmla="*/ 0 h 1229846"/>
                      <a:gd name="connsiteX3" fmla="*/ 1237246 w 2927684"/>
                      <a:gd name="connsiteY3" fmla="*/ 0 h 1229846"/>
                      <a:gd name="connsiteX4" fmla="*/ 1765969 w 2927684"/>
                      <a:gd name="connsiteY4" fmla="*/ 0 h 1229846"/>
                      <a:gd name="connsiteX5" fmla="*/ 2722706 w 2927684"/>
                      <a:gd name="connsiteY5" fmla="*/ 0 h 1229846"/>
                      <a:gd name="connsiteX6" fmla="*/ 2927684 w 2927684"/>
                      <a:gd name="connsiteY6" fmla="*/ 204978 h 1229846"/>
                      <a:gd name="connsiteX7" fmla="*/ 2927684 w 2927684"/>
                      <a:gd name="connsiteY7" fmla="*/ 590326 h 1229846"/>
                      <a:gd name="connsiteX8" fmla="*/ 2927684 w 2927684"/>
                      <a:gd name="connsiteY8" fmla="*/ 1024868 h 1229846"/>
                      <a:gd name="connsiteX9" fmla="*/ 2722706 w 2927684"/>
                      <a:gd name="connsiteY9" fmla="*/ 1229846 h 1229846"/>
                      <a:gd name="connsiteX10" fmla="*/ 2219160 w 2927684"/>
                      <a:gd name="connsiteY10" fmla="*/ 1229846 h 1229846"/>
                      <a:gd name="connsiteX11" fmla="*/ 1665260 w 2927684"/>
                      <a:gd name="connsiteY11" fmla="*/ 1229846 h 1229846"/>
                      <a:gd name="connsiteX12" fmla="*/ 1237246 w 2927684"/>
                      <a:gd name="connsiteY12" fmla="*/ 1229846 h 1229846"/>
                      <a:gd name="connsiteX13" fmla="*/ 809233 w 2927684"/>
                      <a:gd name="connsiteY13" fmla="*/ 1229846 h 1229846"/>
                      <a:gd name="connsiteX14" fmla="*/ 204978 w 2927684"/>
                      <a:gd name="connsiteY14" fmla="*/ 1229846 h 1229846"/>
                      <a:gd name="connsiteX15" fmla="*/ 0 w 2927684"/>
                      <a:gd name="connsiteY15" fmla="*/ 1024868 h 1229846"/>
                      <a:gd name="connsiteX16" fmla="*/ 0 w 2927684"/>
                      <a:gd name="connsiteY16" fmla="*/ 631321 h 1229846"/>
                      <a:gd name="connsiteX17" fmla="*/ 0 w 2927684"/>
                      <a:gd name="connsiteY17" fmla="*/ 204978 h 122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7684" h="1229846" fill="none" extrusionOk="0">
                        <a:moveTo>
                          <a:pt x="0" y="204978"/>
                        </a:moveTo>
                        <a:cubicBezTo>
                          <a:pt x="8637" y="91526"/>
                          <a:pt x="97424" y="-3023"/>
                          <a:pt x="204978" y="0"/>
                        </a:cubicBezTo>
                        <a:cubicBezTo>
                          <a:pt x="339471" y="-56476"/>
                          <a:pt x="462560" y="60329"/>
                          <a:pt x="708524" y="0"/>
                        </a:cubicBezTo>
                        <a:cubicBezTo>
                          <a:pt x="954488" y="-60329"/>
                          <a:pt x="996743" y="7726"/>
                          <a:pt x="1237246" y="0"/>
                        </a:cubicBezTo>
                        <a:cubicBezTo>
                          <a:pt x="1477749" y="-7726"/>
                          <a:pt x="1501791" y="28368"/>
                          <a:pt x="1765969" y="0"/>
                        </a:cubicBezTo>
                        <a:cubicBezTo>
                          <a:pt x="2030147" y="-28368"/>
                          <a:pt x="2312822" y="19341"/>
                          <a:pt x="2722706" y="0"/>
                        </a:cubicBezTo>
                        <a:cubicBezTo>
                          <a:pt x="2838200" y="2739"/>
                          <a:pt x="2943983" y="98570"/>
                          <a:pt x="2927684" y="204978"/>
                        </a:cubicBezTo>
                        <a:cubicBezTo>
                          <a:pt x="2946865" y="336827"/>
                          <a:pt x="2885352" y="452496"/>
                          <a:pt x="2927684" y="590326"/>
                        </a:cubicBezTo>
                        <a:cubicBezTo>
                          <a:pt x="2970016" y="728156"/>
                          <a:pt x="2891215" y="919856"/>
                          <a:pt x="2927684" y="1024868"/>
                        </a:cubicBezTo>
                        <a:cubicBezTo>
                          <a:pt x="2924742" y="1142456"/>
                          <a:pt x="2846418" y="1203538"/>
                          <a:pt x="2722706" y="1229846"/>
                        </a:cubicBezTo>
                        <a:cubicBezTo>
                          <a:pt x="2509203" y="1271846"/>
                          <a:pt x="2449322" y="1229032"/>
                          <a:pt x="2219160" y="1229846"/>
                        </a:cubicBezTo>
                        <a:cubicBezTo>
                          <a:pt x="1988998" y="1230660"/>
                          <a:pt x="1899517" y="1185066"/>
                          <a:pt x="1665260" y="1229846"/>
                        </a:cubicBezTo>
                        <a:cubicBezTo>
                          <a:pt x="1431003" y="1274626"/>
                          <a:pt x="1332792" y="1211363"/>
                          <a:pt x="1237246" y="1229846"/>
                        </a:cubicBezTo>
                        <a:cubicBezTo>
                          <a:pt x="1141700" y="1248329"/>
                          <a:pt x="990237" y="1207354"/>
                          <a:pt x="809233" y="1229846"/>
                        </a:cubicBezTo>
                        <a:cubicBezTo>
                          <a:pt x="628229" y="1252338"/>
                          <a:pt x="477877" y="1168593"/>
                          <a:pt x="204978" y="1229846"/>
                        </a:cubicBezTo>
                        <a:cubicBezTo>
                          <a:pt x="84293" y="1205414"/>
                          <a:pt x="-8470" y="1140892"/>
                          <a:pt x="0" y="1024868"/>
                        </a:cubicBezTo>
                        <a:cubicBezTo>
                          <a:pt x="-36813" y="854157"/>
                          <a:pt x="40678" y="788712"/>
                          <a:pt x="0" y="631321"/>
                        </a:cubicBezTo>
                        <a:cubicBezTo>
                          <a:pt x="-40678" y="473930"/>
                          <a:pt x="8303" y="362911"/>
                          <a:pt x="0" y="204978"/>
                        </a:cubicBezTo>
                        <a:close/>
                      </a:path>
                      <a:path w="2927684" h="1229846" stroke="0" extrusionOk="0">
                        <a:moveTo>
                          <a:pt x="0" y="204978"/>
                        </a:moveTo>
                        <a:cubicBezTo>
                          <a:pt x="-5263" y="108428"/>
                          <a:pt x="114722" y="-22541"/>
                          <a:pt x="204978" y="0"/>
                        </a:cubicBezTo>
                        <a:cubicBezTo>
                          <a:pt x="353716" y="-11781"/>
                          <a:pt x="487870" y="39850"/>
                          <a:pt x="658169" y="0"/>
                        </a:cubicBezTo>
                        <a:cubicBezTo>
                          <a:pt x="828468" y="-39850"/>
                          <a:pt x="998891" y="9430"/>
                          <a:pt x="1111360" y="0"/>
                        </a:cubicBezTo>
                        <a:cubicBezTo>
                          <a:pt x="1223829" y="-9430"/>
                          <a:pt x="1504232" y="4012"/>
                          <a:pt x="1614906" y="0"/>
                        </a:cubicBezTo>
                        <a:cubicBezTo>
                          <a:pt x="1725580" y="-4012"/>
                          <a:pt x="1903264" y="41371"/>
                          <a:pt x="2042919" y="0"/>
                        </a:cubicBezTo>
                        <a:cubicBezTo>
                          <a:pt x="2182574" y="-41371"/>
                          <a:pt x="2454533" y="23651"/>
                          <a:pt x="2722706" y="0"/>
                        </a:cubicBezTo>
                        <a:cubicBezTo>
                          <a:pt x="2852377" y="-15782"/>
                          <a:pt x="2918937" y="84628"/>
                          <a:pt x="2927684" y="204978"/>
                        </a:cubicBezTo>
                        <a:cubicBezTo>
                          <a:pt x="2971098" y="313277"/>
                          <a:pt x="2902359" y="471205"/>
                          <a:pt x="2927684" y="590326"/>
                        </a:cubicBezTo>
                        <a:cubicBezTo>
                          <a:pt x="2953009" y="709447"/>
                          <a:pt x="2918820" y="885219"/>
                          <a:pt x="2927684" y="1024868"/>
                        </a:cubicBezTo>
                        <a:cubicBezTo>
                          <a:pt x="2901488" y="1116880"/>
                          <a:pt x="2824077" y="1231922"/>
                          <a:pt x="2722706" y="1229846"/>
                        </a:cubicBezTo>
                        <a:cubicBezTo>
                          <a:pt x="2624402" y="1259756"/>
                          <a:pt x="2445776" y="1208611"/>
                          <a:pt x="2244338" y="1229846"/>
                        </a:cubicBezTo>
                        <a:cubicBezTo>
                          <a:pt x="2042900" y="1251081"/>
                          <a:pt x="1927339" y="1197461"/>
                          <a:pt x="1791147" y="1229846"/>
                        </a:cubicBezTo>
                        <a:cubicBezTo>
                          <a:pt x="1654955" y="1262231"/>
                          <a:pt x="1471389" y="1229509"/>
                          <a:pt x="1287601" y="1229846"/>
                        </a:cubicBezTo>
                        <a:cubicBezTo>
                          <a:pt x="1103813" y="1230183"/>
                          <a:pt x="954800" y="1177803"/>
                          <a:pt x="758878" y="1229846"/>
                        </a:cubicBezTo>
                        <a:cubicBezTo>
                          <a:pt x="562956" y="1281889"/>
                          <a:pt x="361078" y="1210236"/>
                          <a:pt x="204978" y="1229846"/>
                        </a:cubicBezTo>
                        <a:cubicBezTo>
                          <a:pt x="70914" y="1237044"/>
                          <a:pt x="-354" y="1145072"/>
                          <a:pt x="0" y="1024868"/>
                        </a:cubicBezTo>
                        <a:cubicBezTo>
                          <a:pt x="-8884" y="834435"/>
                          <a:pt x="13964" y="721654"/>
                          <a:pt x="0" y="606724"/>
                        </a:cubicBezTo>
                        <a:cubicBezTo>
                          <a:pt x="-13964" y="491794"/>
                          <a:pt x="22222" y="348501"/>
                          <a:pt x="0" y="204978"/>
                        </a:cubicBezTo>
                        <a:close/>
                      </a:path>
                    </a:pathLst>
                  </a:custGeom>
                  <ask:type>
                    <ask:lineSketchNon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1218835"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prstClr val="white"/>
                </a:solidFill>
                <a:effectLst/>
                <a:uLnTx/>
                <a:uFillTx/>
                <a:latin typeface="Calibri" panose="020F0502020204030204"/>
                <a:ea typeface="+mn-ea"/>
                <a:cs typeface="+mn-cs"/>
              </a:rPr>
              <a:t>Dårlig tilgjengelighet</a:t>
            </a:r>
          </a:p>
        </p:txBody>
      </p:sp>
      <p:sp>
        <p:nvSpPr>
          <p:cNvPr id="27" name="Rektangel 26">
            <a:extLst>
              <a:ext uri="{FF2B5EF4-FFF2-40B4-BE49-F238E27FC236}">
                <a16:creationId xmlns:a16="http://schemas.microsoft.com/office/drawing/2014/main" id="{0FE2EB45-618B-B145-B534-9A7815D10914}"/>
              </a:ext>
            </a:extLst>
          </p:cNvPr>
          <p:cNvSpPr/>
          <p:nvPr/>
        </p:nvSpPr>
        <p:spPr>
          <a:xfrm>
            <a:off x="1638674" y="1645591"/>
            <a:ext cx="5185207" cy="705881"/>
          </a:xfrm>
          <a:prstGeom prst="rect">
            <a:avLst/>
          </a:prstGeom>
          <a:solidFill>
            <a:schemeClr val="accent1"/>
          </a:solidFill>
          <a:ln>
            <a:solidFill>
              <a:schemeClr val="accent1"/>
            </a:solidFill>
            <a:extLst>
              <a:ext uri="{C807C97D-BFC1-408E-A445-0C87EB9F89A2}">
                <ask:lineSketchStyleProps xmlns:ask="http://schemas.microsoft.com/office/drawing/2018/sketchyshapes" sd="4005635846">
                  <a:custGeom>
                    <a:avLst/>
                    <a:gdLst>
                      <a:gd name="connsiteX0" fmla="*/ 0 w 2927684"/>
                      <a:gd name="connsiteY0" fmla="*/ 204978 h 1229846"/>
                      <a:gd name="connsiteX1" fmla="*/ 204978 w 2927684"/>
                      <a:gd name="connsiteY1" fmla="*/ 0 h 1229846"/>
                      <a:gd name="connsiteX2" fmla="*/ 708524 w 2927684"/>
                      <a:gd name="connsiteY2" fmla="*/ 0 h 1229846"/>
                      <a:gd name="connsiteX3" fmla="*/ 1237246 w 2927684"/>
                      <a:gd name="connsiteY3" fmla="*/ 0 h 1229846"/>
                      <a:gd name="connsiteX4" fmla="*/ 1765969 w 2927684"/>
                      <a:gd name="connsiteY4" fmla="*/ 0 h 1229846"/>
                      <a:gd name="connsiteX5" fmla="*/ 2722706 w 2927684"/>
                      <a:gd name="connsiteY5" fmla="*/ 0 h 1229846"/>
                      <a:gd name="connsiteX6" fmla="*/ 2927684 w 2927684"/>
                      <a:gd name="connsiteY6" fmla="*/ 204978 h 1229846"/>
                      <a:gd name="connsiteX7" fmla="*/ 2927684 w 2927684"/>
                      <a:gd name="connsiteY7" fmla="*/ 590326 h 1229846"/>
                      <a:gd name="connsiteX8" fmla="*/ 2927684 w 2927684"/>
                      <a:gd name="connsiteY8" fmla="*/ 1024868 h 1229846"/>
                      <a:gd name="connsiteX9" fmla="*/ 2722706 w 2927684"/>
                      <a:gd name="connsiteY9" fmla="*/ 1229846 h 1229846"/>
                      <a:gd name="connsiteX10" fmla="*/ 2219160 w 2927684"/>
                      <a:gd name="connsiteY10" fmla="*/ 1229846 h 1229846"/>
                      <a:gd name="connsiteX11" fmla="*/ 1665260 w 2927684"/>
                      <a:gd name="connsiteY11" fmla="*/ 1229846 h 1229846"/>
                      <a:gd name="connsiteX12" fmla="*/ 1237246 w 2927684"/>
                      <a:gd name="connsiteY12" fmla="*/ 1229846 h 1229846"/>
                      <a:gd name="connsiteX13" fmla="*/ 809233 w 2927684"/>
                      <a:gd name="connsiteY13" fmla="*/ 1229846 h 1229846"/>
                      <a:gd name="connsiteX14" fmla="*/ 204978 w 2927684"/>
                      <a:gd name="connsiteY14" fmla="*/ 1229846 h 1229846"/>
                      <a:gd name="connsiteX15" fmla="*/ 0 w 2927684"/>
                      <a:gd name="connsiteY15" fmla="*/ 1024868 h 1229846"/>
                      <a:gd name="connsiteX16" fmla="*/ 0 w 2927684"/>
                      <a:gd name="connsiteY16" fmla="*/ 631321 h 1229846"/>
                      <a:gd name="connsiteX17" fmla="*/ 0 w 2927684"/>
                      <a:gd name="connsiteY17" fmla="*/ 204978 h 122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7684" h="1229846" fill="none" extrusionOk="0">
                        <a:moveTo>
                          <a:pt x="0" y="204978"/>
                        </a:moveTo>
                        <a:cubicBezTo>
                          <a:pt x="8637" y="91526"/>
                          <a:pt x="97424" y="-3023"/>
                          <a:pt x="204978" y="0"/>
                        </a:cubicBezTo>
                        <a:cubicBezTo>
                          <a:pt x="339471" y="-56476"/>
                          <a:pt x="462560" y="60329"/>
                          <a:pt x="708524" y="0"/>
                        </a:cubicBezTo>
                        <a:cubicBezTo>
                          <a:pt x="954488" y="-60329"/>
                          <a:pt x="996743" y="7726"/>
                          <a:pt x="1237246" y="0"/>
                        </a:cubicBezTo>
                        <a:cubicBezTo>
                          <a:pt x="1477749" y="-7726"/>
                          <a:pt x="1501791" y="28368"/>
                          <a:pt x="1765969" y="0"/>
                        </a:cubicBezTo>
                        <a:cubicBezTo>
                          <a:pt x="2030147" y="-28368"/>
                          <a:pt x="2312822" y="19341"/>
                          <a:pt x="2722706" y="0"/>
                        </a:cubicBezTo>
                        <a:cubicBezTo>
                          <a:pt x="2838200" y="2739"/>
                          <a:pt x="2943983" y="98570"/>
                          <a:pt x="2927684" y="204978"/>
                        </a:cubicBezTo>
                        <a:cubicBezTo>
                          <a:pt x="2946865" y="336827"/>
                          <a:pt x="2885352" y="452496"/>
                          <a:pt x="2927684" y="590326"/>
                        </a:cubicBezTo>
                        <a:cubicBezTo>
                          <a:pt x="2970016" y="728156"/>
                          <a:pt x="2891215" y="919856"/>
                          <a:pt x="2927684" y="1024868"/>
                        </a:cubicBezTo>
                        <a:cubicBezTo>
                          <a:pt x="2924742" y="1142456"/>
                          <a:pt x="2846418" y="1203538"/>
                          <a:pt x="2722706" y="1229846"/>
                        </a:cubicBezTo>
                        <a:cubicBezTo>
                          <a:pt x="2509203" y="1271846"/>
                          <a:pt x="2449322" y="1229032"/>
                          <a:pt x="2219160" y="1229846"/>
                        </a:cubicBezTo>
                        <a:cubicBezTo>
                          <a:pt x="1988998" y="1230660"/>
                          <a:pt x="1899517" y="1185066"/>
                          <a:pt x="1665260" y="1229846"/>
                        </a:cubicBezTo>
                        <a:cubicBezTo>
                          <a:pt x="1431003" y="1274626"/>
                          <a:pt x="1332792" y="1211363"/>
                          <a:pt x="1237246" y="1229846"/>
                        </a:cubicBezTo>
                        <a:cubicBezTo>
                          <a:pt x="1141700" y="1248329"/>
                          <a:pt x="990237" y="1207354"/>
                          <a:pt x="809233" y="1229846"/>
                        </a:cubicBezTo>
                        <a:cubicBezTo>
                          <a:pt x="628229" y="1252338"/>
                          <a:pt x="477877" y="1168593"/>
                          <a:pt x="204978" y="1229846"/>
                        </a:cubicBezTo>
                        <a:cubicBezTo>
                          <a:pt x="84293" y="1205414"/>
                          <a:pt x="-8470" y="1140892"/>
                          <a:pt x="0" y="1024868"/>
                        </a:cubicBezTo>
                        <a:cubicBezTo>
                          <a:pt x="-36813" y="854157"/>
                          <a:pt x="40678" y="788712"/>
                          <a:pt x="0" y="631321"/>
                        </a:cubicBezTo>
                        <a:cubicBezTo>
                          <a:pt x="-40678" y="473930"/>
                          <a:pt x="8303" y="362911"/>
                          <a:pt x="0" y="204978"/>
                        </a:cubicBezTo>
                        <a:close/>
                      </a:path>
                      <a:path w="2927684" h="1229846" stroke="0" extrusionOk="0">
                        <a:moveTo>
                          <a:pt x="0" y="204978"/>
                        </a:moveTo>
                        <a:cubicBezTo>
                          <a:pt x="-5263" y="108428"/>
                          <a:pt x="114722" y="-22541"/>
                          <a:pt x="204978" y="0"/>
                        </a:cubicBezTo>
                        <a:cubicBezTo>
                          <a:pt x="353716" y="-11781"/>
                          <a:pt x="487870" y="39850"/>
                          <a:pt x="658169" y="0"/>
                        </a:cubicBezTo>
                        <a:cubicBezTo>
                          <a:pt x="828468" y="-39850"/>
                          <a:pt x="998891" y="9430"/>
                          <a:pt x="1111360" y="0"/>
                        </a:cubicBezTo>
                        <a:cubicBezTo>
                          <a:pt x="1223829" y="-9430"/>
                          <a:pt x="1504232" y="4012"/>
                          <a:pt x="1614906" y="0"/>
                        </a:cubicBezTo>
                        <a:cubicBezTo>
                          <a:pt x="1725580" y="-4012"/>
                          <a:pt x="1903264" y="41371"/>
                          <a:pt x="2042919" y="0"/>
                        </a:cubicBezTo>
                        <a:cubicBezTo>
                          <a:pt x="2182574" y="-41371"/>
                          <a:pt x="2454533" y="23651"/>
                          <a:pt x="2722706" y="0"/>
                        </a:cubicBezTo>
                        <a:cubicBezTo>
                          <a:pt x="2852377" y="-15782"/>
                          <a:pt x="2918937" y="84628"/>
                          <a:pt x="2927684" y="204978"/>
                        </a:cubicBezTo>
                        <a:cubicBezTo>
                          <a:pt x="2971098" y="313277"/>
                          <a:pt x="2902359" y="471205"/>
                          <a:pt x="2927684" y="590326"/>
                        </a:cubicBezTo>
                        <a:cubicBezTo>
                          <a:pt x="2953009" y="709447"/>
                          <a:pt x="2918820" y="885219"/>
                          <a:pt x="2927684" y="1024868"/>
                        </a:cubicBezTo>
                        <a:cubicBezTo>
                          <a:pt x="2901488" y="1116880"/>
                          <a:pt x="2824077" y="1231922"/>
                          <a:pt x="2722706" y="1229846"/>
                        </a:cubicBezTo>
                        <a:cubicBezTo>
                          <a:pt x="2624402" y="1259756"/>
                          <a:pt x="2445776" y="1208611"/>
                          <a:pt x="2244338" y="1229846"/>
                        </a:cubicBezTo>
                        <a:cubicBezTo>
                          <a:pt x="2042900" y="1251081"/>
                          <a:pt x="1927339" y="1197461"/>
                          <a:pt x="1791147" y="1229846"/>
                        </a:cubicBezTo>
                        <a:cubicBezTo>
                          <a:pt x="1654955" y="1262231"/>
                          <a:pt x="1471389" y="1229509"/>
                          <a:pt x="1287601" y="1229846"/>
                        </a:cubicBezTo>
                        <a:cubicBezTo>
                          <a:pt x="1103813" y="1230183"/>
                          <a:pt x="954800" y="1177803"/>
                          <a:pt x="758878" y="1229846"/>
                        </a:cubicBezTo>
                        <a:cubicBezTo>
                          <a:pt x="562956" y="1281889"/>
                          <a:pt x="361078" y="1210236"/>
                          <a:pt x="204978" y="1229846"/>
                        </a:cubicBezTo>
                        <a:cubicBezTo>
                          <a:pt x="70914" y="1237044"/>
                          <a:pt x="-354" y="1145072"/>
                          <a:pt x="0" y="1024868"/>
                        </a:cubicBezTo>
                        <a:cubicBezTo>
                          <a:pt x="-8884" y="834435"/>
                          <a:pt x="13964" y="721654"/>
                          <a:pt x="0" y="606724"/>
                        </a:cubicBezTo>
                        <a:cubicBezTo>
                          <a:pt x="-13964" y="491794"/>
                          <a:pt x="22222" y="348501"/>
                          <a:pt x="0" y="204978"/>
                        </a:cubicBezTo>
                        <a:close/>
                      </a:path>
                    </a:pathLst>
                  </a:custGeom>
                  <ask:type>
                    <ask:lineSketchNon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lIns="121884" tIns="60943" rIns="121884" bIns="60943" rtlCol="0" anchor="ctr"/>
          <a:lstStyle/>
          <a:p>
            <a:pPr marL="0" marR="0" lvl="0" indent="0" algn="ctr" defTabSz="1218835"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prstClr val="white"/>
                </a:solidFill>
                <a:effectLst/>
                <a:uLnTx/>
                <a:uFillTx/>
                <a:latin typeface="Calibri" panose="020F0502020204030204"/>
                <a:ea typeface="+mn-ea"/>
                <a:cs typeface="+mn-cs"/>
              </a:rPr>
              <a:t>Datakvalitet</a:t>
            </a:r>
          </a:p>
        </p:txBody>
      </p:sp>
      <p:sp>
        <p:nvSpPr>
          <p:cNvPr id="9" name="Tittel 8">
            <a:extLst>
              <a:ext uri="{FF2B5EF4-FFF2-40B4-BE49-F238E27FC236}">
                <a16:creationId xmlns:a16="http://schemas.microsoft.com/office/drawing/2014/main" id="{F975E75C-E605-FE08-85C7-E9A56565E657}"/>
              </a:ext>
            </a:extLst>
          </p:cNvPr>
          <p:cNvSpPr>
            <a:spLocks noGrp="1"/>
          </p:cNvSpPr>
          <p:nvPr>
            <p:ph type="title"/>
          </p:nvPr>
        </p:nvSpPr>
        <p:spPr>
          <a:xfrm>
            <a:off x="1637468" y="391759"/>
            <a:ext cx="13680000" cy="692497"/>
          </a:xfrm>
        </p:spPr>
        <p:txBody>
          <a:bodyPr/>
          <a:lstStyle/>
          <a:p>
            <a:r>
              <a:rPr lang="nb-NO"/>
              <a:t>Hva er problemet?</a:t>
            </a:r>
          </a:p>
        </p:txBody>
      </p:sp>
      <p:pic>
        <p:nvPicPr>
          <p:cNvPr id="18" name="Bilde 17">
            <a:extLst>
              <a:ext uri="{FF2B5EF4-FFF2-40B4-BE49-F238E27FC236}">
                <a16:creationId xmlns:a16="http://schemas.microsoft.com/office/drawing/2014/main" id="{E078D0F6-0BDC-7155-02D1-CD54C4758A74}"/>
              </a:ext>
            </a:extLst>
          </p:cNvPr>
          <p:cNvPicPr>
            <a:picLocks noChangeAspect="1"/>
          </p:cNvPicPr>
          <p:nvPr/>
        </p:nvPicPr>
        <p:blipFill>
          <a:blip r:embed="rId3"/>
          <a:stretch>
            <a:fillRect/>
          </a:stretch>
        </p:blipFill>
        <p:spPr>
          <a:xfrm flipH="1">
            <a:off x="7517985" y="3978320"/>
            <a:ext cx="1187355" cy="1187355"/>
          </a:xfrm>
          <a:prstGeom prst="rect">
            <a:avLst/>
          </a:prstGeom>
        </p:spPr>
      </p:pic>
      <p:sp>
        <p:nvSpPr>
          <p:cNvPr id="3" name="Rektangel 2">
            <a:extLst>
              <a:ext uri="{FF2B5EF4-FFF2-40B4-BE49-F238E27FC236}">
                <a16:creationId xmlns:a16="http://schemas.microsoft.com/office/drawing/2014/main" id="{A94AF29A-6AEC-3854-7D2A-257311E43535}"/>
              </a:ext>
            </a:extLst>
          </p:cNvPr>
          <p:cNvSpPr/>
          <p:nvPr/>
        </p:nvSpPr>
        <p:spPr>
          <a:xfrm>
            <a:off x="1637468" y="2351471"/>
            <a:ext cx="5184000" cy="605452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ktangel 3">
            <a:extLst>
              <a:ext uri="{FF2B5EF4-FFF2-40B4-BE49-F238E27FC236}">
                <a16:creationId xmlns:a16="http://schemas.microsoft.com/office/drawing/2014/main" id="{CECC63FE-840C-D30B-BE51-144E03C3CFF1}"/>
              </a:ext>
            </a:extLst>
          </p:cNvPr>
          <p:cNvSpPr/>
          <p:nvPr/>
        </p:nvSpPr>
        <p:spPr>
          <a:xfrm>
            <a:off x="9431739" y="2351471"/>
            <a:ext cx="5184000" cy="605452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2264"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kstSylinder 4">
            <a:extLst>
              <a:ext uri="{FF2B5EF4-FFF2-40B4-BE49-F238E27FC236}">
                <a16:creationId xmlns:a16="http://schemas.microsoft.com/office/drawing/2014/main" id="{2B3F5C15-5958-F6E6-A417-9BA06921721A}"/>
              </a:ext>
            </a:extLst>
          </p:cNvPr>
          <p:cNvSpPr txBox="1"/>
          <p:nvPr/>
        </p:nvSpPr>
        <p:spPr>
          <a:xfrm>
            <a:off x="1637468" y="2351471"/>
            <a:ext cx="5184000" cy="4939814"/>
          </a:xfrm>
          <a:prstGeom prst="rect">
            <a:avLst/>
          </a:prstGeom>
          <a:noFill/>
        </p:spPr>
        <p:txBody>
          <a:bodyPr wrap="square" lIns="91440" tIns="45720" rIns="91440" bIns="45720" rtlCol="0" anchor="t">
            <a:spAutoFit/>
          </a:bodyPr>
          <a:lstStyle/>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250" b="0" i="0" u="none" strike="noStrike" kern="1200" cap="none" spc="0" normalizeH="0" baseline="0" noProof="0">
                <a:ln>
                  <a:noFill/>
                </a:ln>
                <a:solidFill>
                  <a:prstClr val="black"/>
                </a:solidFill>
                <a:effectLst/>
                <a:uLnTx/>
                <a:uFillTx/>
                <a:latin typeface="Arial"/>
                <a:ea typeface="+mn-ea"/>
                <a:cs typeface="Arial"/>
              </a:rPr>
              <a:t>Ressurskrevende å kompensere for dårlig datakvalitet</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2250" b="0" i="0" u="none" strike="noStrike" kern="1200" cap="none" spc="0" normalizeH="0" baseline="0" noProof="0">
              <a:ln>
                <a:noFill/>
              </a:ln>
              <a:solidFill>
                <a:prstClr val="black"/>
              </a:solidFill>
              <a:effectLst/>
              <a:uLnTx/>
              <a:uFillTx/>
              <a:latin typeface="Arial"/>
              <a:ea typeface="+mn-ea"/>
              <a:cs typeface="Arial"/>
            </a:endParaRP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250" b="0" i="0" u="none" strike="noStrike" kern="1200" cap="none" spc="0" normalizeH="0" baseline="0" noProof="0">
                <a:ln>
                  <a:noFill/>
                </a:ln>
                <a:solidFill>
                  <a:prstClr val="black"/>
                </a:solidFill>
                <a:effectLst/>
                <a:uLnTx/>
                <a:uFillTx/>
                <a:latin typeface="Arial"/>
                <a:ea typeface="+mn-ea"/>
                <a:cs typeface="Arial"/>
              </a:rPr>
              <a:t>Reell ansvarsplassering og oppdateringssløyfer for data mangler</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2250" b="0" i="0" u="none" strike="noStrike" kern="1200" cap="none" spc="0" normalizeH="0" baseline="0" noProof="0">
              <a:ln>
                <a:noFill/>
              </a:ln>
              <a:solidFill>
                <a:prstClr val="black"/>
              </a:solidFill>
              <a:effectLst/>
              <a:uLnTx/>
              <a:uFillTx/>
              <a:latin typeface="Arial"/>
              <a:ea typeface="+mn-ea"/>
              <a:cs typeface="Arial"/>
            </a:endParaRP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250" b="0" i="0" u="none" strike="noStrike" kern="1200" cap="none" spc="0" normalizeH="0" baseline="0" noProof="0">
                <a:ln>
                  <a:noFill/>
                </a:ln>
                <a:solidFill>
                  <a:prstClr val="black"/>
                </a:solidFill>
                <a:effectLst/>
                <a:uLnTx/>
                <a:uFillTx/>
                <a:latin typeface="Arial"/>
                <a:ea typeface="+mn-ea"/>
                <a:cs typeface="Arial"/>
              </a:rPr>
              <a:t>Datakvaliteten heves gjentatte ganger uten at det kommer tilbake til kilden</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2250" b="0" i="0" u="none" strike="noStrike" kern="1200" cap="none" spc="0" normalizeH="0" baseline="0" noProof="0">
              <a:ln>
                <a:noFill/>
              </a:ln>
              <a:solidFill>
                <a:prstClr val="black"/>
              </a:solidFill>
              <a:effectLst/>
              <a:uLnTx/>
              <a:uFillTx/>
              <a:latin typeface="Arial"/>
              <a:ea typeface="+mn-ea"/>
              <a:cs typeface="Arial"/>
            </a:endParaRP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250" b="0" i="0" u="none" strike="noStrike" kern="1200" cap="none" spc="0" normalizeH="0" baseline="0" noProof="0">
                <a:ln>
                  <a:noFill/>
                </a:ln>
                <a:solidFill>
                  <a:prstClr val="black"/>
                </a:solidFill>
                <a:effectLst/>
                <a:uLnTx/>
                <a:uFillTx/>
                <a:latin typeface="Arial"/>
                <a:ea typeface="+mn-ea"/>
                <a:cs typeface="Arial"/>
              </a:rPr>
              <a:t>Lav tillit til andres data og usikkerhet om hvilke data som er vedlikeholdt for felles bruk</a:t>
            </a:r>
          </a:p>
        </p:txBody>
      </p:sp>
      <p:sp>
        <p:nvSpPr>
          <p:cNvPr id="6" name="TekstSylinder 5">
            <a:extLst>
              <a:ext uri="{FF2B5EF4-FFF2-40B4-BE49-F238E27FC236}">
                <a16:creationId xmlns:a16="http://schemas.microsoft.com/office/drawing/2014/main" id="{E16399B5-8F32-207E-B373-6FE184FB8954}"/>
              </a:ext>
            </a:extLst>
          </p:cNvPr>
          <p:cNvSpPr txBox="1"/>
          <p:nvPr/>
        </p:nvSpPr>
        <p:spPr>
          <a:xfrm>
            <a:off x="9431739" y="2351470"/>
            <a:ext cx="5184000" cy="4336187"/>
          </a:xfrm>
          <a:prstGeom prst="rect">
            <a:avLst/>
          </a:prstGeom>
          <a:noFill/>
        </p:spPr>
        <p:txBody>
          <a:bodyPr wrap="square" lIns="91440" tIns="45720" rIns="91440" bIns="45720" rtlCol="0" anchor="t">
            <a:spAutoFit/>
          </a:bodyPr>
          <a:lstStyle/>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250" b="0" i="0" u="none" strike="noStrike" kern="1200" cap="none" spc="0" normalizeH="0" baseline="0" noProof="0">
                <a:ln>
                  <a:noFill/>
                </a:ln>
                <a:solidFill>
                  <a:prstClr val="black"/>
                </a:solidFill>
                <a:effectLst/>
                <a:uLnTx/>
                <a:uFillTx/>
                <a:latin typeface="Arial"/>
                <a:ea typeface="+mn-ea"/>
                <a:cs typeface="Arial"/>
              </a:rPr>
              <a:t>Konsumentene må forholde seg til mange ulike tilbydere og datakilder</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2250" b="0" i="0" u="none" strike="noStrike" kern="1200" cap="none" spc="0" normalizeH="0" baseline="0" noProof="0">
              <a:ln>
                <a:noFill/>
              </a:ln>
              <a:solidFill>
                <a:prstClr val="black"/>
              </a:solidFill>
              <a:effectLst/>
              <a:uLnTx/>
              <a:uFillTx/>
              <a:latin typeface="Arial"/>
              <a:ea typeface="+mn-ea"/>
              <a:cs typeface="Arial"/>
            </a:endParaRP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250" b="0" i="0" u="none" strike="noStrike" kern="1200" cap="none" spc="0" normalizeH="0" baseline="0" noProof="0">
                <a:ln>
                  <a:noFill/>
                </a:ln>
                <a:solidFill>
                  <a:prstClr val="black"/>
                </a:solidFill>
                <a:effectLst/>
                <a:uLnTx/>
                <a:uFillTx/>
                <a:latin typeface="Arial"/>
                <a:ea typeface="+mn-ea"/>
                <a:cs typeface="Arial"/>
              </a:rPr>
              <a:t>Tilbyderne har ulike rutiner og løsninger for deling og forvaltning, vurderinger</a:t>
            </a: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2250" b="0" i="0" u="none" strike="noStrike" kern="1200" cap="none" spc="0" normalizeH="0" baseline="0" noProof="0">
              <a:ln>
                <a:noFill/>
              </a:ln>
              <a:solidFill>
                <a:prstClr val="black"/>
              </a:solidFill>
              <a:effectLst/>
              <a:uLnTx/>
              <a:uFillTx/>
              <a:latin typeface="Arial"/>
              <a:ea typeface="+mn-ea"/>
              <a:cs typeface="Arial"/>
            </a:endParaRP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250" b="0" i="0" u="none" strike="noStrike" kern="1200" cap="none" spc="0" normalizeH="0" baseline="0" noProof="0">
                <a:ln>
                  <a:noFill/>
                </a:ln>
                <a:solidFill>
                  <a:srgbClr val="000000"/>
                </a:solidFill>
                <a:effectLst/>
                <a:uLnTx/>
                <a:uFillTx/>
                <a:latin typeface="Arial"/>
                <a:ea typeface="+mn-ea"/>
                <a:cs typeface="Arial"/>
              </a:rPr>
              <a:t>Opplysningene er ikke tilgjengelige på en samordnet måte for konsumentene</a:t>
            </a:r>
            <a:endParaRPr kumimoji="0" lang="nb-NO" sz="2250" b="0" i="0" u="none" strike="noStrike" kern="1200" cap="none" spc="0" normalizeH="0" baseline="0" noProof="0">
              <a:ln>
                <a:noFill/>
              </a:ln>
              <a:solidFill>
                <a:prstClr val="black"/>
              </a:solidFill>
              <a:effectLst/>
              <a:uLnTx/>
              <a:uFillTx/>
              <a:latin typeface="Arial"/>
              <a:ea typeface="+mn-ea"/>
              <a:cs typeface="Arial"/>
            </a:endParaRP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2250" b="0" i="0" u="none" strike="noStrike" kern="1200" cap="none" spc="0" normalizeH="0" baseline="0" noProof="0">
              <a:ln>
                <a:noFill/>
              </a:ln>
              <a:solidFill>
                <a:prstClr val="black"/>
              </a:solidFill>
              <a:effectLst/>
              <a:uLnTx/>
              <a:uFillTx/>
              <a:latin typeface="Arial"/>
              <a:ea typeface="+mn-ea"/>
              <a:cs typeface="Arial"/>
            </a:endParaRPr>
          </a:p>
          <a:p>
            <a:pPr marL="342900" marR="0" lvl="0" indent="-342900" algn="l" defTabSz="11499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250" b="0" i="0" u="none" strike="noStrike" kern="1200" cap="none" spc="0" normalizeH="0" baseline="0" noProof="0">
                <a:ln>
                  <a:noFill/>
                </a:ln>
                <a:solidFill>
                  <a:prstClr val="black"/>
                </a:solidFill>
                <a:effectLst/>
                <a:uLnTx/>
                <a:uFillTx/>
                <a:latin typeface="Arial"/>
                <a:ea typeface="+mn-ea"/>
                <a:cs typeface="Arial"/>
              </a:rPr>
              <a:t>Ingen steder å rette nye behov</a:t>
            </a:r>
          </a:p>
        </p:txBody>
      </p:sp>
    </p:spTree>
    <p:extLst>
      <p:ext uri="{BB962C8B-B14F-4D97-AF65-F5344CB8AC3E}">
        <p14:creationId xmlns:p14="http://schemas.microsoft.com/office/powerpoint/2010/main" val="1486423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ktangel 28">
            <a:extLst>
              <a:ext uri="{FF2B5EF4-FFF2-40B4-BE49-F238E27FC236}">
                <a16:creationId xmlns:a16="http://schemas.microsoft.com/office/drawing/2014/main" id="{04B2929A-D1F3-D1CC-F69C-4DC40252F998}"/>
              </a:ext>
            </a:extLst>
          </p:cNvPr>
          <p:cNvSpPr/>
          <p:nvPr/>
        </p:nvSpPr>
        <p:spPr>
          <a:xfrm>
            <a:off x="13839597" y="669318"/>
            <a:ext cx="1204622" cy="4788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Rektangel 24">
            <a:extLst>
              <a:ext uri="{FF2B5EF4-FFF2-40B4-BE49-F238E27FC236}">
                <a16:creationId xmlns:a16="http://schemas.microsoft.com/office/drawing/2014/main" id="{FBD9E25B-4677-5785-BA8B-B0341972AD04}"/>
              </a:ext>
            </a:extLst>
          </p:cNvPr>
          <p:cNvSpPr/>
          <p:nvPr/>
        </p:nvSpPr>
        <p:spPr>
          <a:xfrm>
            <a:off x="1624066" y="461720"/>
            <a:ext cx="2960471" cy="68643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tel 1">
            <a:extLst>
              <a:ext uri="{FF2B5EF4-FFF2-40B4-BE49-F238E27FC236}">
                <a16:creationId xmlns:a16="http://schemas.microsoft.com/office/drawing/2014/main" id="{38355F51-4A48-128D-B668-EA256DF6C5E3}"/>
              </a:ext>
            </a:extLst>
          </p:cNvPr>
          <p:cNvSpPr>
            <a:spLocks noGrp="1"/>
          </p:cNvSpPr>
          <p:nvPr>
            <p:ph type="title"/>
          </p:nvPr>
        </p:nvSpPr>
        <p:spPr>
          <a:xfrm>
            <a:off x="1155113" y="1059237"/>
            <a:ext cx="13944189" cy="692363"/>
          </a:xfrm>
        </p:spPr>
        <p:txBody>
          <a:bodyPr/>
          <a:lstStyle/>
          <a:p>
            <a:r>
              <a:rPr lang="nb-NO" sz="3733" dirty="0"/>
              <a:t>Nasjonale grunndata - organisering</a:t>
            </a:r>
          </a:p>
        </p:txBody>
      </p:sp>
      <p:grpSp>
        <p:nvGrpSpPr>
          <p:cNvPr id="45" name="Gruppe 44">
            <a:extLst>
              <a:ext uri="{FF2B5EF4-FFF2-40B4-BE49-F238E27FC236}">
                <a16:creationId xmlns:a16="http://schemas.microsoft.com/office/drawing/2014/main" id="{BF7297DB-8374-400A-29C1-A9B3BCECB05F}"/>
              </a:ext>
            </a:extLst>
          </p:cNvPr>
          <p:cNvGrpSpPr/>
          <p:nvPr/>
        </p:nvGrpSpPr>
        <p:grpSpPr>
          <a:xfrm>
            <a:off x="1153974" y="3567277"/>
            <a:ext cx="6312254" cy="3697898"/>
            <a:chOff x="283323" y="223489"/>
            <a:chExt cx="6878112" cy="3508260"/>
          </a:xfrm>
        </p:grpSpPr>
        <p:pic>
          <p:nvPicPr>
            <p:cNvPr id="47" name="Picture 2">
              <a:extLst>
                <a:ext uri="{FF2B5EF4-FFF2-40B4-BE49-F238E27FC236}">
                  <a16:creationId xmlns:a16="http://schemas.microsoft.com/office/drawing/2014/main" id="{BA7BB173-3AC2-5644-00A5-11D56DD17C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2665" y="2691557"/>
              <a:ext cx="2468925" cy="448457"/>
            </a:xfrm>
            <a:prstGeom prst="rect">
              <a:avLst/>
            </a:prstGeom>
            <a:noFill/>
            <a:extLst>
              <a:ext uri="{909E8E84-426E-40DD-AFC4-6F175D3DCCD1}">
                <a14:hiddenFill xmlns:a14="http://schemas.microsoft.com/office/drawing/2010/main">
                  <a:solidFill>
                    <a:srgbClr val="FFFFFF"/>
                  </a:solidFill>
                </a14:hiddenFill>
              </a:ext>
            </a:extLst>
          </p:spPr>
        </p:pic>
        <p:grpSp>
          <p:nvGrpSpPr>
            <p:cNvPr id="49" name="Gruppe 48">
              <a:extLst>
                <a:ext uri="{FF2B5EF4-FFF2-40B4-BE49-F238E27FC236}">
                  <a16:creationId xmlns:a16="http://schemas.microsoft.com/office/drawing/2014/main" id="{EC06A0A0-8257-2D96-D19B-09344E4F8C83}"/>
                </a:ext>
              </a:extLst>
            </p:cNvPr>
            <p:cNvGrpSpPr/>
            <p:nvPr/>
          </p:nvGrpSpPr>
          <p:grpSpPr>
            <a:xfrm>
              <a:off x="283323" y="223489"/>
              <a:ext cx="6878112" cy="3508260"/>
              <a:chOff x="283323" y="223489"/>
              <a:chExt cx="6878112" cy="3508260"/>
            </a:xfrm>
          </p:grpSpPr>
          <p:grpSp>
            <p:nvGrpSpPr>
              <p:cNvPr id="50" name="Gruppe 49">
                <a:extLst>
                  <a:ext uri="{FF2B5EF4-FFF2-40B4-BE49-F238E27FC236}">
                    <a16:creationId xmlns:a16="http://schemas.microsoft.com/office/drawing/2014/main" id="{29256E0D-69B5-0792-A016-6BD670AA6A5F}"/>
                  </a:ext>
                </a:extLst>
              </p:cNvPr>
              <p:cNvGrpSpPr/>
              <p:nvPr/>
            </p:nvGrpSpPr>
            <p:grpSpPr>
              <a:xfrm>
                <a:off x="283323" y="223489"/>
                <a:ext cx="6878112" cy="2983774"/>
                <a:chOff x="818568" y="2251279"/>
                <a:chExt cx="5159088" cy="2238049"/>
              </a:xfrm>
            </p:grpSpPr>
            <p:grpSp>
              <p:nvGrpSpPr>
                <p:cNvPr id="52" name="Gruppe 51">
                  <a:extLst>
                    <a:ext uri="{FF2B5EF4-FFF2-40B4-BE49-F238E27FC236}">
                      <a16:creationId xmlns:a16="http://schemas.microsoft.com/office/drawing/2014/main" id="{F63BC80A-412B-AAB9-4A05-B31480F75BDB}"/>
                    </a:ext>
                  </a:extLst>
                </p:cNvPr>
                <p:cNvGrpSpPr/>
                <p:nvPr/>
              </p:nvGrpSpPr>
              <p:grpSpPr>
                <a:xfrm>
                  <a:off x="818568" y="2251279"/>
                  <a:ext cx="5159088" cy="2238049"/>
                  <a:chOff x="-165681" y="783661"/>
                  <a:chExt cx="5159088" cy="2238049"/>
                </a:xfrm>
              </p:grpSpPr>
              <p:grpSp>
                <p:nvGrpSpPr>
                  <p:cNvPr id="54" name="Gruppe 53">
                    <a:extLst>
                      <a:ext uri="{FF2B5EF4-FFF2-40B4-BE49-F238E27FC236}">
                        <a16:creationId xmlns:a16="http://schemas.microsoft.com/office/drawing/2014/main" id="{E9069B64-90F6-7E87-83D9-84CD69CEEB85}"/>
                      </a:ext>
                    </a:extLst>
                  </p:cNvPr>
                  <p:cNvGrpSpPr/>
                  <p:nvPr/>
                </p:nvGrpSpPr>
                <p:grpSpPr>
                  <a:xfrm>
                    <a:off x="-102640" y="882558"/>
                    <a:ext cx="5096047" cy="2139152"/>
                    <a:chOff x="2269885" y="2816661"/>
                    <a:chExt cx="7323359" cy="3169122"/>
                  </a:xfrm>
                </p:grpSpPr>
                <p:grpSp>
                  <p:nvGrpSpPr>
                    <p:cNvPr id="56" name="Gruppe 55">
                      <a:extLst>
                        <a:ext uri="{FF2B5EF4-FFF2-40B4-BE49-F238E27FC236}">
                          <a16:creationId xmlns:a16="http://schemas.microsoft.com/office/drawing/2014/main" id="{8C96E375-A7AC-8978-C384-54DC2EA30231}"/>
                        </a:ext>
                      </a:extLst>
                    </p:cNvPr>
                    <p:cNvGrpSpPr/>
                    <p:nvPr/>
                  </p:nvGrpSpPr>
                  <p:grpSpPr>
                    <a:xfrm>
                      <a:off x="2269885" y="2816661"/>
                      <a:ext cx="7323359" cy="2412951"/>
                      <a:chOff x="-242264" y="1119048"/>
                      <a:chExt cx="6447068" cy="2022425"/>
                    </a:xfrm>
                  </p:grpSpPr>
                  <p:pic>
                    <p:nvPicPr>
                      <p:cNvPr id="58" name="Picture 4" descr="Se kildebildet">
                        <a:extLst>
                          <a:ext uri="{FF2B5EF4-FFF2-40B4-BE49-F238E27FC236}">
                            <a16:creationId xmlns:a16="http://schemas.microsoft.com/office/drawing/2014/main" id="{48ABF317-8241-2989-DC09-762DFD0950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643" y="2462760"/>
                        <a:ext cx="3080161" cy="37361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6" descr="Se kildebildet">
                        <a:extLst>
                          <a:ext uri="{FF2B5EF4-FFF2-40B4-BE49-F238E27FC236}">
                            <a16:creationId xmlns:a16="http://schemas.microsoft.com/office/drawing/2014/main" id="{545FDC66-29BD-4A5B-9E8A-E9AB9972DC5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00186" y="1119048"/>
                        <a:ext cx="858856" cy="103861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8" descr="Bilderesultat for nav logo">
                        <a:extLst>
                          <a:ext uri="{FF2B5EF4-FFF2-40B4-BE49-F238E27FC236}">
                            <a16:creationId xmlns:a16="http://schemas.microsoft.com/office/drawing/2014/main" id="{CFB32B51-62B8-020E-46C1-A2B9B03FC12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76283" y="1119048"/>
                        <a:ext cx="1296722" cy="99464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0" descr="Bilderesultat for halden kommune">
                        <a:extLst>
                          <a:ext uri="{FF2B5EF4-FFF2-40B4-BE49-F238E27FC236}">
                            <a16:creationId xmlns:a16="http://schemas.microsoft.com/office/drawing/2014/main" id="{09F730F9-300D-6756-90A3-5EEDA9BE35C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2264" y="2102856"/>
                        <a:ext cx="950143" cy="1038617"/>
                      </a:xfrm>
                      <a:prstGeom prst="rect">
                        <a:avLst/>
                      </a:prstGeom>
                      <a:noFill/>
                      <a:extLst>
                        <a:ext uri="{909E8E84-426E-40DD-AFC4-6F175D3DCCD1}">
                          <a14:hiddenFill xmlns:a14="http://schemas.microsoft.com/office/drawing/2010/main">
                            <a:solidFill>
                              <a:srgbClr val="FFFFFF"/>
                            </a:solidFill>
                          </a14:hiddenFill>
                        </a:ext>
                      </a:extLst>
                    </p:spPr>
                  </p:pic>
                  <p:pic>
                    <p:nvPicPr>
                      <p:cNvPr id="62" name="Bilde 61">
                        <a:extLst>
                          <a:ext uri="{FF2B5EF4-FFF2-40B4-BE49-F238E27FC236}">
                            <a16:creationId xmlns:a16="http://schemas.microsoft.com/office/drawing/2014/main" id="{929C0B8B-CF35-2CB0-4059-3DA0A9BCE5CE}"/>
                          </a:ext>
                        </a:extLst>
                      </p:cNvPr>
                      <p:cNvPicPr>
                        <a:picLocks noChangeAspect="1"/>
                      </p:cNvPicPr>
                      <p:nvPr/>
                    </p:nvPicPr>
                    <p:blipFill>
                      <a:blip r:embed="rId8"/>
                      <a:stretch>
                        <a:fillRect/>
                      </a:stretch>
                    </p:blipFill>
                    <p:spPr>
                      <a:xfrm>
                        <a:off x="976980" y="2295226"/>
                        <a:ext cx="1978409" cy="708684"/>
                      </a:xfrm>
                      <a:prstGeom prst="rect">
                        <a:avLst/>
                      </a:prstGeom>
                    </p:spPr>
                  </p:pic>
                </p:grpSp>
                <p:pic>
                  <p:nvPicPr>
                    <p:cNvPr id="57" name="Bilde 56">
                      <a:extLst>
                        <a:ext uri="{FF2B5EF4-FFF2-40B4-BE49-F238E27FC236}">
                          <a16:creationId xmlns:a16="http://schemas.microsoft.com/office/drawing/2014/main" id="{81F914C5-06D8-5557-CB4F-2FE69E707FBD}"/>
                        </a:ext>
                      </a:extLst>
                    </p:cNvPr>
                    <p:cNvPicPr>
                      <a:picLocks noChangeAspect="1"/>
                    </p:cNvPicPr>
                    <p:nvPr/>
                  </p:nvPicPr>
                  <p:blipFill>
                    <a:blip r:embed="rId9"/>
                    <a:stretch>
                      <a:fillRect/>
                    </a:stretch>
                  </p:blipFill>
                  <p:spPr>
                    <a:xfrm>
                      <a:off x="2429168" y="5337993"/>
                      <a:ext cx="1886215" cy="647790"/>
                    </a:xfrm>
                    <a:prstGeom prst="rect">
                      <a:avLst/>
                    </a:prstGeom>
                  </p:spPr>
                </p:pic>
              </p:grpSp>
              <p:pic>
                <p:nvPicPr>
                  <p:cNvPr id="55" name="Picture 2">
                    <a:extLst>
                      <a:ext uri="{FF2B5EF4-FFF2-40B4-BE49-F238E27FC236}">
                        <a16:creationId xmlns:a16="http://schemas.microsoft.com/office/drawing/2014/main" id="{C72D92A4-ABF2-A79E-DCA4-579FF7F0146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5681" y="783661"/>
                    <a:ext cx="959873" cy="1004762"/>
                  </a:xfrm>
                  <a:prstGeom prst="rect">
                    <a:avLst/>
                  </a:prstGeom>
                  <a:noFill/>
                  <a:extLst>
                    <a:ext uri="{909E8E84-426E-40DD-AFC4-6F175D3DCCD1}">
                      <a14:hiddenFill xmlns:a14="http://schemas.microsoft.com/office/drawing/2010/main">
                        <a:solidFill>
                          <a:srgbClr val="FFFFFF"/>
                        </a:solidFill>
                      </a14:hiddenFill>
                    </a:ext>
                  </a:extLst>
                </p:spPr>
              </p:pic>
            </p:grpSp>
            <p:pic>
              <p:nvPicPr>
                <p:cNvPr id="53" name="Picture 2">
                  <a:extLst>
                    <a:ext uri="{FF2B5EF4-FFF2-40B4-BE49-F238E27FC236}">
                      <a16:creationId xmlns:a16="http://schemas.microsoft.com/office/drawing/2014/main" id="{F5E6C385-6BA8-45DD-A876-F05F55C547B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r="50108"/>
                <a:stretch/>
              </p:blipFill>
              <p:spPr bwMode="auto">
                <a:xfrm>
                  <a:off x="4473493" y="2419501"/>
                  <a:ext cx="686929" cy="688423"/>
                </a:xfrm>
                <a:prstGeom prst="rect">
                  <a:avLst/>
                </a:prstGeom>
                <a:noFill/>
                <a:extLst>
                  <a:ext uri="{909E8E84-426E-40DD-AFC4-6F175D3DCCD1}">
                    <a14:hiddenFill xmlns:a14="http://schemas.microsoft.com/office/drawing/2010/main">
                      <a:solidFill>
                        <a:srgbClr val="FFFFFF"/>
                      </a:solidFill>
                    </a14:hiddenFill>
                  </a:ext>
                </a:extLst>
              </p:spPr>
            </p:pic>
          </p:grpSp>
          <p:pic>
            <p:nvPicPr>
              <p:cNvPr id="51" name="Bilde 50" descr="Et bilde som inneholder Font, Grafikk, skjermbilde, grafisk design&#10;&#10;Automatisk generert beskrivelse">
                <a:extLst>
                  <a:ext uri="{FF2B5EF4-FFF2-40B4-BE49-F238E27FC236}">
                    <a16:creationId xmlns:a16="http://schemas.microsoft.com/office/drawing/2014/main" id="{86FC1BF6-84AA-DD17-5780-7AA3893D1D7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15140" y="3388367"/>
                <a:ext cx="2630904" cy="343382"/>
              </a:xfrm>
              <a:prstGeom prst="rect">
                <a:avLst/>
              </a:prstGeom>
            </p:spPr>
          </p:pic>
        </p:grpSp>
      </p:grpSp>
      <p:grpSp>
        <p:nvGrpSpPr>
          <p:cNvPr id="6" name="Gruppe 5">
            <a:extLst>
              <a:ext uri="{FF2B5EF4-FFF2-40B4-BE49-F238E27FC236}">
                <a16:creationId xmlns:a16="http://schemas.microsoft.com/office/drawing/2014/main" id="{790A6E4F-F0A9-C208-014A-B854B25BE741}"/>
              </a:ext>
            </a:extLst>
          </p:cNvPr>
          <p:cNvGrpSpPr/>
          <p:nvPr/>
        </p:nvGrpSpPr>
        <p:grpSpPr>
          <a:xfrm>
            <a:off x="6953738" y="2948632"/>
            <a:ext cx="8145564" cy="4727049"/>
            <a:chOff x="6373088" y="1664226"/>
            <a:chExt cx="6865709" cy="3778865"/>
          </a:xfrm>
        </p:grpSpPr>
        <p:grpSp>
          <p:nvGrpSpPr>
            <p:cNvPr id="24" name="Gruppe 23">
              <a:extLst>
                <a:ext uri="{FF2B5EF4-FFF2-40B4-BE49-F238E27FC236}">
                  <a16:creationId xmlns:a16="http://schemas.microsoft.com/office/drawing/2014/main" id="{4559E08D-D1BF-18BE-B4A2-190CC9439118}"/>
                </a:ext>
              </a:extLst>
            </p:cNvPr>
            <p:cNvGrpSpPr/>
            <p:nvPr/>
          </p:nvGrpSpPr>
          <p:grpSpPr>
            <a:xfrm>
              <a:off x="9790766" y="3566648"/>
              <a:ext cx="2248130" cy="1086416"/>
              <a:chOff x="8747297" y="3288561"/>
              <a:chExt cx="2248349" cy="1086522"/>
            </a:xfrm>
          </p:grpSpPr>
          <p:sp>
            <p:nvSpPr>
              <p:cNvPr id="12" name="Rektangel: avrundede hjørner 11">
                <a:extLst>
                  <a:ext uri="{FF2B5EF4-FFF2-40B4-BE49-F238E27FC236}">
                    <a16:creationId xmlns:a16="http://schemas.microsoft.com/office/drawing/2014/main" id="{176073CC-4A3B-C223-1D1D-C086414BD160}"/>
                  </a:ext>
                </a:extLst>
              </p:cNvPr>
              <p:cNvSpPr/>
              <p:nvPr/>
            </p:nvSpPr>
            <p:spPr>
              <a:xfrm>
                <a:off x="8747297" y="3288561"/>
                <a:ext cx="2248349" cy="1086522"/>
              </a:xfrm>
              <a:prstGeom prst="roundRect">
                <a:avLst/>
              </a:prstGeom>
              <a:solidFill>
                <a:srgbClr val="355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TekstSylinder 13">
                <a:extLst>
                  <a:ext uri="{FF2B5EF4-FFF2-40B4-BE49-F238E27FC236}">
                    <a16:creationId xmlns:a16="http://schemas.microsoft.com/office/drawing/2014/main" id="{71486EC7-F944-4889-8861-A969F46EB0E1}"/>
                  </a:ext>
                </a:extLst>
              </p:cNvPr>
              <p:cNvSpPr txBox="1"/>
              <p:nvPr/>
            </p:nvSpPr>
            <p:spPr>
              <a:xfrm>
                <a:off x="8908661" y="3807934"/>
                <a:ext cx="1925619" cy="336237"/>
              </a:xfrm>
              <a:prstGeom prst="rect">
                <a:avLst/>
              </a:prstGeom>
              <a:noFill/>
            </p:spPr>
            <p:txBody>
              <a:bodyPr wrap="square" rtlCol="0">
                <a:spAutoFit/>
              </a:bodyPr>
              <a:lstStyle/>
              <a:p>
                <a:pPr marL="0" marR="0" lvl="0" indent="0" algn="ctr" defTabSz="1218957" rtl="0" eaLnBrk="1" fontAlgn="auto" latinLnBrk="0" hangingPunct="1">
                  <a:lnSpc>
                    <a:spcPct val="100000"/>
                  </a:lnSpc>
                  <a:spcBef>
                    <a:spcPts val="0"/>
                  </a:spcBef>
                  <a:spcAft>
                    <a:spcPts val="0"/>
                  </a:spcAft>
                  <a:buClrTx/>
                  <a:buSzTx/>
                  <a:buFontTx/>
                  <a:buNone/>
                  <a:tabLst/>
                  <a:defRPr/>
                </a:pPr>
                <a:r>
                  <a:rPr kumimoji="0" lang="nb-NO" sz="2133" b="0" i="0" u="none" strike="noStrike" kern="1200" cap="none" spc="0" normalizeH="0" baseline="0" noProof="0" dirty="0">
                    <a:ln>
                      <a:noFill/>
                    </a:ln>
                    <a:solidFill>
                      <a:prstClr val="white"/>
                    </a:solidFill>
                    <a:effectLst/>
                    <a:uLnTx/>
                    <a:uFillTx/>
                    <a:latin typeface="Arial" panose="020B0604020202020204"/>
                    <a:ea typeface="+mn-ea"/>
                    <a:cs typeface="+mn-cs"/>
                  </a:rPr>
                  <a:t>Arbeidsgruppe</a:t>
                </a:r>
              </a:p>
            </p:txBody>
          </p:sp>
        </p:grpSp>
        <p:grpSp>
          <p:nvGrpSpPr>
            <p:cNvPr id="23" name="Gruppe 22">
              <a:extLst>
                <a:ext uri="{FF2B5EF4-FFF2-40B4-BE49-F238E27FC236}">
                  <a16:creationId xmlns:a16="http://schemas.microsoft.com/office/drawing/2014/main" id="{547F6A01-7DEA-6A78-1A9E-AE216E96DA6C}"/>
                </a:ext>
              </a:extLst>
            </p:cNvPr>
            <p:cNvGrpSpPr/>
            <p:nvPr/>
          </p:nvGrpSpPr>
          <p:grpSpPr>
            <a:xfrm>
              <a:off x="8027148" y="1664226"/>
              <a:ext cx="5211649" cy="1099555"/>
              <a:chOff x="5057886" y="1616950"/>
              <a:chExt cx="5212157" cy="1099662"/>
            </a:xfrm>
          </p:grpSpPr>
          <p:sp>
            <p:nvSpPr>
              <p:cNvPr id="4" name="Rektangel: avrundede hjørner 3">
                <a:extLst>
                  <a:ext uri="{FF2B5EF4-FFF2-40B4-BE49-F238E27FC236}">
                    <a16:creationId xmlns:a16="http://schemas.microsoft.com/office/drawing/2014/main" id="{2023AD9B-3AE2-7CC2-4BC4-47A8503F1BA9}"/>
                  </a:ext>
                </a:extLst>
              </p:cNvPr>
              <p:cNvSpPr/>
              <p:nvPr/>
            </p:nvSpPr>
            <p:spPr>
              <a:xfrm>
                <a:off x="5057886" y="1630090"/>
                <a:ext cx="2248349" cy="1086522"/>
              </a:xfrm>
              <a:prstGeom prst="roundRect">
                <a:avLst/>
              </a:prstGeom>
              <a:solidFill>
                <a:srgbClr val="355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TekstSylinder 9">
                <a:extLst>
                  <a:ext uri="{FF2B5EF4-FFF2-40B4-BE49-F238E27FC236}">
                    <a16:creationId xmlns:a16="http://schemas.microsoft.com/office/drawing/2014/main" id="{A531E6BD-093C-172B-7952-0A3FEFD2735A}"/>
                  </a:ext>
                </a:extLst>
              </p:cNvPr>
              <p:cNvSpPr txBox="1"/>
              <p:nvPr/>
            </p:nvSpPr>
            <p:spPr>
              <a:xfrm>
                <a:off x="5219250" y="2149463"/>
                <a:ext cx="1925620" cy="336237"/>
              </a:xfrm>
              <a:prstGeom prst="rect">
                <a:avLst/>
              </a:prstGeom>
              <a:noFill/>
            </p:spPr>
            <p:txBody>
              <a:bodyPr wrap="square" rtlCol="0">
                <a:spAutoFit/>
              </a:bodyPr>
              <a:lstStyle/>
              <a:p>
                <a:pPr marL="0" marR="0" lvl="0" indent="0" algn="ctr" defTabSz="1218957" rtl="0" eaLnBrk="1" fontAlgn="auto" latinLnBrk="0" hangingPunct="1">
                  <a:lnSpc>
                    <a:spcPct val="100000"/>
                  </a:lnSpc>
                  <a:spcBef>
                    <a:spcPts val="0"/>
                  </a:spcBef>
                  <a:spcAft>
                    <a:spcPts val="0"/>
                  </a:spcAft>
                  <a:buClrTx/>
                  <a:buSzTx/>
                  <a:buFontTx/>
                  <a:buNone/>
                  <a:tabLst/>
                  <a:defRPr/>
                </a:pPr>
                <a:r>
                  <a:rPr kumimoji="0" lang="nb-NO" sz="2133" b="0" i="0" u="none" strike="noStrike" kern="1200" cap="none" spc="0" normalizeH="0" baseline="0" noProof="0" dirty="0">
                    <a:ln>
                      <a:noFill/>
                    </a:ln>
                    <a:solidFill>
                      <a:prstClr val="white"/>
                    </a:solidFill>
                    <a:effectLst/>
                    <a:uLnTx/>
                    <a:uFillTx/>
                    <a:latin typeface="Arial" panose="020B0604020202020204"/>
                    <a:ea typeface="+mn-ea"/>
                    <a:cs typeface="+mn-cs"/>
                  </a:rPr>
                  <a:t>Styringsgruppe</a:t>
                </a:r>
              </a:p>
            </p:txBody>
          </p:sp>
          <p:pic>
            <p:nvPicPr>
              <p:cNvPr id="16" name="Bilde 15">
                <a:extLst>
                  <a:ext uri="{FF2B5EF4-FFF2-40B4-BE49-F238E27FC236}">
                    <a16:creationId xmlns:a16="http://schemas.microsoft.com/office/drawing/2014/main" id="{22EE75C9-566B-7F1C-1C73-686793ECE919}"/>
                  </a:ext>
                </a:extLst>
              </p:cNvPr>
              <p:cNvPicPr>
                <a:picLocks noChangeAspect="1"/>
              </p:cNvPicPr>
              <p:nvPr/>
            </p:nvPicPr>
            <p:blipFill>
              <a:blip r:embed="rId13"/>
              <a:stretch>
                <a:fillRect/>
              </a:stretch>
            </p:blipFill>
            <p:spPr>
              <a:xfrm rot="10800000" flipH="1" flipV="1">
                <a:off x="5973984" y="1699148"/>
                <a:ext cx="439200" cy="439200"/>
              </a:xfrm>
              <a:prstGeom prst="rect">
                <a:avLst/>
              </a:prstGeom>
            </p:spPr>
          </p:pic>
          <p:sp>
            <p:nvSpPr>
              <p:cNvPr id="7" name="Rektangel: avrundede hjørner 6">
                <a:extLst>
                  <a:ext uri="{FF2B5EF4-FFF2-40B4-BE49-F238E27FC236}">
                    <a16:creationId xmlns:a16="http://schemas.microsoft.com/office/drawing/2014/main" id="{A89A097A-70AF-C2BA-B61D-749D9B281734}"/>
                  </a:ext>
                </a:extLst>
              </p:cNvPr>
              <p:cNvSpPr/>
              <p:nvPr/>
            </p:nvSpPr>
            <p:spPr>
              <a:xfrm>
                <a:off x="8021694" y="1616950"/>
                <a:ext cx="2248349" cy="1086522"/>
              </a:xfrm>
              <a:prstGeom prst="roundRect">
                <a:avLst/>
              </a:prstGeom>
              <a:solidFill>
                <a:srgbClr val="355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kstSylinder 7">
                <a:extLst>
                  <a:ext uri="{FF2B5EF4-FFF2-40B4-BE49-F238E27FC236}">
                    <a16:creationId xmlns:a16="http://schemas.microsoft.com/office/drawing/2014/main" id="{5AB5A158-CE39-1824-21A9-110ACF5860E8}"/>
                  </a:ext>
                </a:extLst>
              </p:cNvPr>
              <p:cNvSpPr txBox="1"/>
              <p:nvPr/>
            </p:nvSpPr>
            <p:spPr>
              <a:xfrm>
                <a:off x="8183057" y="2136322"/>
                <a:ext cx="1925620" cy="336237"/>
              </a:xfrm>
              <a:prstGeom prst="rect">
                <a:avLst/>
              </a:prstGeom>
              <a:noFill/>
            </p:spPr>
            <p:txBody>
              <a:bodyPr wrap="square" rtlCol="0">
                <a:spAutoFit/>
              </a:bodyPr>
              <a:lstStyle/>
              <a:p>
                <a:pPr marL="0" marR="0" lvl="0" indent="0" algn="ctr" defTabSz="1218957" rtl="0" eaLnBrk="1" fontAlgn="auto" latinLnBrk="0" hangingPunct="1">
                  <a:lnSpc>
                    <a:spcPct val="100000"/>
                  </a:lnSpc>
                  <a:spcBef>
                    <a:spcPts val="0"/>
                  </a:spcBef>
                  <a:spcAft>
                    <a:spcPts val="0"/>
                  </a:spcAft>
                  <a:buClrTx/>
                  <a:buSzTx/>
                  <a:buFontTx/>
                  <a:buNone/>
                  <a:tabLst/>
                  <a:defRPr/>
                </a:pPr>
                <a:r>
                  <a:rPr kumimoji="0" lang="nb-NO" sz="2133" b="0" i="0" u="none" strike="noStrike" kern="1200" cap="none" spc="0" normalizeH="0" baseline="0" noProof="0" dirty="0">
                    <a:ln>
                      <a:noFill/>
                    </a:ln>
                    <a:solidFill>
                      <a:prstClr val="white"/>
                    </a:solidFill>
                    <a:effectLst/>
                    <a:uLnTx/>
                    <a:uFillTx/>
                    <a:latin typeface="Arial" panose="020B0604020202020204"/>
                    <a:ea typeface="+mn-ea"/>
                    <a:cs typeface="+mn-cs"/>
                  </a:rPr>
                  <a:t>Skate</a:t>
                </a:r>
              </a:p>
            </p:txBody>
          </p:sp>
          <p:pic>
            <p:nvPicPr>
              <p:cNvPr id="9" name="Bilde 8">
                <a:extLst>
                  <a:ext uri="{FF2B5EF4-FFF2-40B4-BE49-F238E27FC236}">
                    <a16:creationId xmlns:a16="http://schemas.microsoft.com/office/drawing/2014/main" id="{4DDCF858-810C-F880-3BD6-5E88D3E33BB5}"/>
                  </a:ext>
                </a:extLst>
              </p:cNvPr>
              <p:cNvPicPr>
                <a:picLocks noChangeAspect="1"/>
              </p:cNvPicPr>
              <p:nvPr/>
            </p:nvPicPr>
            <p:blipFill>
              <a:blip r:embed="rId13"/>
              <a:stretch>
                <a:fillRect/>
              </a:stretch>
            </p:blipFill>
            <p:spPr>
              <a:xfrm rot="10800000" flipH="1" flipV="1">
                <a:off x="8937792" y="1686007"/>
                <a:ext cx="439200" cy="439200"/>
              </a:xfrm>
              <a:prstGeom prst="rect">
                <a:avLst/>
              </a:prstGeom>
            </p:spPr>
          </p:pic>
        </p:grpSp>
        <p:pic>
          <p:nvPicPr>
            <p:cNvPr id="21" name="Bilde 20">
              <a:extLst>
                <a:ext uri="{FF2B5EF4-FFF2-40B4-BE49-F238E27FC236}">
                  <a16:creationId xmlns:a16="http://schemas.microsoft.com/office/drawing/2014/main" id="{DDDDEDAE-AF7A-D2C2-8566-D0D486CB0B96}"/>
                </a:ext>
              </a:extLst>
            </p:cNvPr>
            <p:cNvPicPr>
              <a:picLocks noChangeAspect="1"/>
            </p:cNvPicPr>
            <p:nvPr/>
          </p:nvPicPr>
          <p:blipFill>
            <a:blip r:embed="rId14"/>
            <a:stretch>
              <a:fillRect/>
            </a:stretch>
          </p:blipFill>
          <p:spPr>
            <a:xfrm>
              <a:off x="10672713" y="3636198"/>
              <a:ext cx="503951" cy="503951"/>
            </a:xfrm>
            <a:prstGeom prst="rect">
              <a:avLst/>
            </a:prstGeom>
          </p:spPr>
        </p:pic>
        <p:cxnSp>
          <p:nvCxnSpPr>
            <p:cNvPr id="39" name="Kobling: vinkel 38">
              <a:extLst>
                <a:ext uri="{FF2B5EF4-FFF2-40B4-BE49-F238E27FC236}">
                  <a16:creationId xmlns:a16="http://schemas.microsoft.com/office/drawing/2014/main" id="{1549F34C-DCFE-C0C3-35C7-2D69EE15DE6B}"/>
                </a:ext>
              </a:extLst>
            </p:cNvPr>
            <p:cNvCxnSpPr>
              <a:cxnSpLocks/>
              <a:stCxn id="4" idx="2"/>
            </p:cNvCxnSpPr>
            <p:nvPr/>
          </p:nvCxnSpPr>
          <p:spPr>
            <a:xfrm rot="5400000">
              <a:off x="7969926" y="3471777"/>
              <a:ext cx="1889284" cy="473290"/>
            </a:xfrm>
            <a:prstGeom prst="bentConnector3">
              <a:avLst>
                <a:gd name="adj1" fmla="val 99532"/>
              </a:avLst>
            </a:prstGeom>
            <a:ln>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6" name="Rett linje 45">
              <a:extLst>
                <a:ext uri="{FF2B5EF4-FFF2-40B4-BE49-F238E27FC236}">
                  <a16:creationId xmlns:a16="http://schemas.microsoft.com/office/drawing/2014/main" id="{1901234F-5D36-19F9-6F57-CD207CC01A94}"/>
                </a:ext>
              </a:extLst>
            </p:cNvPr>
            <p:cNvCxnSpPr>
              <a:cxnSpLocks/>
              <a:stCxn id="12" idx="1"/>
            </p:cNvCxnSpPr>
            <p:nvPr/>
          </p:nvCxnSpPr>
          <p:spPr>
            <a:xfrm flipH="1">
              <a:off x="9151214" y="4109856"/>
              <a:ext cx="639553" cy="0"/>
            </a:xfrm>
            <a:prstGeom prst="line">
              <a:avLst/>
            </a:prstGeom>
            <a:ln>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5" name="Gruppe 4">
              <a:extLst>
                <a:ext uri="{FF2B5EF4-FFF2-40B4-BE49-F238E27FC236}">
                  <a16:creationId xmlns:a16="http://schemas.microsoft.com/office/drawing/2014/main" id="{89D33D92-9C17-52AF-06E5-C3556B42A477}"/>
                </a:ext>
              </a:extLst>
            </p:cNvPr>
            <p:cNvGrpSpPr/>
            <p:nvPr/>
          </p:nvGrpSpPr>
          <p:grpSpPr>
            <a:xfrm>
              <a:off x="6373088" y="4356675"/>
              <a:ext cx="2391550" cy="1086416"/>
              <a:chOff x="6373088" y="4356675"/>
              <a:chExt cx="2391550" cy="1086416"/>
            </a:xfrm>
          </p:grpSpPr>
          <p:sp>
            <p:nvSpPr>
              <p:cNvPr id="17" name="Rektangel: avrundede hjørner 16">
                <a:extLst>
                  <a:ext uri="{FF2B5EF4-FFF2-40B4-BE49-F238E27FC236}">
                    <a16:creationId xmlns:a16="http://schemas.microsoft.com/office/drawing/2014/main" id="{68942936-7729-E0B8-E6F1-AF22DB082C13}"/>
                  </a:ext>
                </a:extLst>
              </p:cNvPr>
              <p:cNvSpPr/>
              <p:nvPr/>
            </p:nvSpPr>
            <p:spPr>
              <a:xfrm>
                <a:off x="6429793" y="4356675"/>
                <a:ext cx="2248130" cy="1086416"/>
              </a:xfrm>
              <a:prstGeom prst="roundRect">
                <a:avLst/>
              </a:prstGeom>
              <a:solidFill>
                <a:srgbClr val="355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121895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TekstSylinder 18">
                <a:extLst>
                  <a:ext uri="{FF2B5EF4-FFF2-40B4-BE49-F238E27FC236}">
                    <a16:creationId xmlns:a16="http://schemas.microsoft.com/office/drawing/2014/main" id="{AA5E1DAF-9EB0-C198-AE68-012F2EE9017A}"/>
                  </a:ext>
                </a:extLst>
              </p:cNvPr>
              <p:cNvSpPr txBox="1"/>
              <p:nvPr/>
            </p:nvSpPr>
            <p:spPr>
              <a:xfrm>
                <a:off x="6373088" y="4861485"/>
                <a:ext cx="2391550" cy="336204"/>
              </a:xfrm>
              <a:prstGeom prst="rect">
                <a:avLst/>
              </a:prstGeom>
              <a:noFill/>
            </p:spPr>
            <p:txBody>
              <a:bodyPr wrap="square" rtlCol="0">
                <a:spAutoFit/>
              </a:bodyPr>
              <a:lstStyle/>
              <a:p>
                <a:pPr marL="0" marR="0" lvl="0" indent="0" algn="ctr" defTabSz="1218957" rtl="0" eaLnBrk="1" fontAlgn="auto" latinLnBrk="0" hangingPunct="1">
                  <a:lnSpc>
                    <a:spcPct val="100000"/>
                  </a:lnSpc>
                  <a:spcBef>
                    <a:spcPts val="0"/>
                  </a:spcBef>
                  <a:spcAft>
                    <a:spcPts val="0"/>
                  </a:spcAft>
                  <a:buClrTx/>
                  <a:buSzTx/>
                  <a:buFontTx/>
                  <a:buNone/>
                  <a:tabLst/>
                  <a:defRPr/>
                </a:pPr>
                <a:r>
                  <a:rPr kumimoji="0" lang="nb-NO" sz="2133" b="0" i="0" u="none" strike="noStrike" kern="1200" cap="none" spc="0" normalizeH="0" baseline="0" noProof="0" dirty="0">
                    <a:ln>
                      <a:noFill/>
                    </a:ln>
                    <a:solidFill>
                      <a:prstClr val="white"/>
                    </a:solidFill>
                    <a:effectLst/>
                    <a:uLnTx/>
                    <a:uFillTx/>
                    <a:latin typeface="Arial" panose="020B0604020202020204"/>
                    <a:ea typeface="+mn-ea"/>
                    <a:cs typeface="+mn-cs"/>
                  </a:rPr>
                  <a:t>Koordineringsgruppe</a:t>
                </a:r>
              </a:p>
            </p:txBody>
          </p:sp>
          <p:pic>
            <p:nvPicPr>
              <p:cNvPr id="3" name="Bilde 2">
                <a:extLst>
                  <a:ext uri="{FF2B5EF4-FFF2-40B4-BE49-F238E27FC236}">
                    <a16:creationId xmlns:a16="http://schemas.microsoft.com/office/drawing/2014/main" id="{19427159-D270-D5AF-37E8-11D01ACE60F7}"/>
                  </a:ext>
                </a:extLst>
              </p:cNvPr>
              <p:cNvPicPr>
                <a:picLocks noChangeAspect="1"/>
              </p:cNvPicPr>
              <p:nvPr/>
            </p:nvPicPr>
            <p:blipFill>
              <a:blip r:embed="rId15"/>
              <a:stretch>
                <a:fillRect/>
              </a:stretch>
            </p:blipFill>
            <p:spPr>
              <a:xfrm>
                <a:off x="7278343" y="4455266"/>
                <a:ext cx="439229" cy="439229"/>
              </a:xfrm>
              <a:prstGeom prst="rect">
                <a:avLst/>
              </a:prstGeom>
            </p:spPr>
          </p:pic>
        </p:grpSp>
      </p:grpSp>
      <p:cxnSp>
        <p:nvCxnSpPr>
          <p:cNvPr id="13" name="Rett linje 12">
            <a:extLst>
              <a:ext uri="{FF2B5EF4-FFF2-40B4-BE49-F238E27FC236}">
                <a16:creationId xmlns:a16="http://schemas.microsoft.com/office/drawing/2014/main" id="{60370F02-F762-256C-B782-9E9C49F4E48D}"/>
              </a:ext>
            </a:extLst>
          </p:cNvPr>
          <p:cNvCxnSpPr>
            <a:stCxn id="4" idx="3"/>
            <a:endCxn id="7" idx="1"/>
          </p:cNvCxnSpPr>
          <p:nvPr/>
        </p:nvCxnSpPr>
        <p:spPr>
          <a:xfrm flipV="1">
            <a:off x="11583346" y="3628140"/>
            <a:ext cx="848746" cy="16436"/>
          </a:xfrm>
          <a:prstGeom prst="line">
            <a:avLst/>
          </a:prstGeom>
          <a:ln w="19050" cap="flat" cmpd="sng" algn="ctr">
            <a:solidFill>
              <a:schemeClr val="tx2">
                <a:lumMod val="50000"/>
                <a:lumOff val="50000"/>
              </a:schemeClr>
            </a:solidFill>
            <a:prstDash val="sys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785370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676C64D-4219-69BE-4EBD-F52E770F7AC5}"/>
              </a:ext>
            </a:extLst>
          </p:cNvPr>
          <p:cNvSpPr>
            <a:spLocks noGrp="1"/>
          </p:cNvSpPr>
          <p:nvPr>
            <p:ph type="title"/>
          </p:nvPr>
        </p:nvSpPr>
        <p:spPr>
          <a:xfrm>
            <a:off x="2364231" y="1364842"/>
            <a:ext cx="12295197" cy="972775"/>
          </a:xfrm>
        </p:spPr>
        <p:txBody>
          <a:bodyPr anchor="b">
            <a:normAutofit fontScale="90000"/>
          </a:bodyPr>
          <a:lstStyle/>
          <a:p>
            <a:r>
              <a:rPr lang="nb-NO" dirty="0"/>
              <a:t>Utgangspunktet for saken</a:t>
            </a:r>
            <a:br>
              <a:rPr lang="nb-NO" dirty="0"/>
            </a:br>
            <a:r>
              <a:rPr lang="nb-NO" sz="3600" dirty="0"/>
              <a:t>"Kun en gang – men hvem skal hente inn dataene denne ene gang" </a:t>
            </a:r>
            <a:endParaRPr lang="nb-NO" dirty="0"/>
          </a:p>
        </p:txBody>
      </p:sp>
      <p:graphicFrame>
        <p:nvGraphicFramePr>
          <p:cNvPr id="5" name="Plassholder for innhold 2">
            <a:extLst>
              <a:ext uri="{FF2B5EF4-FFF2-40B4-BE49-F238E27FC236}">
                <a16:creationId xmlns:a16="http://schemas.microsoft.com/office/drawing/2014/main" id="{F870E9BF-E181-0A9F-524F-2BDFCBA48793}"/>
              </a:ext>
            </a:extLst>
          </p:cNvPr>
          <p:cNvGraphicFramePr>
            <a:graphicFrameLocks noGrp="1"/>
          </p:cNvGraphicFramePr>
          <p:nvPr>
            <p:ph idx="1"/>
            <p:extLst>
              <p:ext uri="{D42A27DB-BD31-4B8C-83A1-F6EECF244321}">
                <p14:modId xmlns:p14="http://schemas.microsoft.com/office/powerpoint/2010/main" val="800183400"/>
              </p:ext>
            </p:extLst>
          </p:nvPr>
        </p:nvGraphicFramePr>
        <p:xfrm>
          <a:off x="2364230" y="2598874"/>
          <a:ext cx="12295197" cy="57648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034842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e 16">
            <a:extLst>
              <a:ext uri="{FF2B5EF4-FFF2-40B4-BE49-F238E27FC236}">
                <a16:creationId xmlns:a16="http://schemas.microsoft.com/office/drawing/2014/main" id="{A271B464-BED3-43D2-A312-3D34DB831CE2}"/>
              </a:ext>
            </a:extLst>
          </p:cNvPr>
          <p:cNvGrpSpPr/>
          <p:nvPr/>
        </p:nvGrpSpPr>
        <p:grpSpPr>
          <a:xfrm>
            <a:off x="5917061" y="3061807"/>
            <a:ext cx="4901433" cy="6379409"/>
            <a:chOff x="4261652" y="1341119"/>
            <a:chExt cx="3676434" cy="4785024"/>
          </a:xfrm>
        </p:grpSpPr>
        <p:pic>
          <p:nvPicPr>
            <p:cNvPr id="8" name="Bilde 7">
              <a:extLst>
                <a:ext uri="{FF2B5EF4-FFF2-40B4-BE49-F238E27FC236}">
                  <a16:creationId xmlns:a16="http://schemas.microsoft.com/office/drawing/2014/main" id="{E171A2BF-6C35-4486-878D-9D77F4CC0679}"/>
                </a:ext>
              </a:extLst>
            </p:cNvPr>
            <p:cNvPicPr>
              <a:picLocks noChangeAspect="1"/>
            </p:cNvPicPr>
            <p:nvPr/>
          </p:nvPicPr>
          <p:blipFill>
            <a:blip r:embed="rId3">
              <a:duotone>
                <a:prstClr val="black"/>
                <a:srgbClr val="F05F63">
                  <a:tint val="45000"/>
                  <a:satMod val="400000"/>
                </a:srgbClr>
              </a:duotone>
            </a:blip>
            <a:stretch>
              <a:fillRect/>
            </a:stretch>
          </p:blipFill>
          <p:spPr>
            <a:xfrm>
              <a:off x="5198807" y="1341119"/>
              <a:ext cx="1290482" cy="1290482"/>
            </a:xfrm>
            <a:prstGeom prst="rect">
              <a:avLst/>
            </a:prstGeom>
          </p:spPr>
        </p:pic>
        <p:sp>
          <p:nvSpPr>
            <p:cNvPr id="14" name="TekstSylinder 13">
              <a:extLst>
                <a:ext uri="{FF2B5EF4-FFF2-40B4-BE49-F238E27FC236}">
                  <a16:creationId xmlns:a16="http://schemas.microsoft.com/office/drawing/2014/main" id="{FD934746-FCA9-478D-9D45-499CAE697ED5}"/>
                </a:ext>
              </a:extLst>
            </p:cNvPr>
            <p:cNvSpPr txBox="1"/>
            <p:nvPr/>
          </p:nvSpPr>
          <p:spPr>
            <a:xfrm>
              <a:off x="4261652" y="3041728"/>
              <a:ext cx="3676434" cy="3084415"/>
            </a:xfrm>
            <a:prstGeom prst="rect">
              <a:avLst/>
            </a:prstGeom>
            <a:noFill/>
          </p:spPr>
          <p:txBody>
            <a:bodyPr wrap="square" numCol="2" rtlCol="0">
              <a:spAutoFit/>
            </a:bodyPr>
            <a:lstStyle/>
            <a:p>
              <a:pPr defTabSz="1219078"/>
              <a:r>
                <a:rPr lang="nb-NO" sz="1866" dirty="0">
                  <a:solidFill>
                    <a:prstClr val="black"/>
                  </a:solidFill>
                  <a:latin typeface="Arial" panose="020B0604020202020204" pitchFamily="34" charset="0"/>
                  <a:cs typeface="Arial" panose="020B0604020202020204" pitchFamily="34" charset="0"/>
                </a:rPr>
                <a:t>Aa-registeret</a:t>
              </a:r>
            </a:p>
            <a:p>
              <a:pPr defTabSz="1219078"/>
              <a:r>
                <a:rPr lang="nb-NO" sz="1866" dirty="0">
                  <a:solidFill>
                    <a:prstClr val="black"/>
                  </a:solidFill>
                  <a:latin typeface="Arial" panose="020B0604020202020204" pitchFamily="34" charset="0"/>
                  <a:cs typeface="Arial" panose="020B0604020202020204" pitchFamily="34" charset="0"/>
                </a:rPr>
                <a:t>Bergen kommune (case)</a:t>
              </a:r>
            </a:p>
            <a:p>
              <a:pPr defTabSz="1219078"/>
              <a:r>
                <a:rPr lang="nb-NO" sz="1866" dirty="0">
                  <a:solidFill>
                    <a:prstClr val="black"/>
                  </a:solidFill>
                  <a:latin typeface="Arial" panose="020B0604020202020204" pitchFamily="34" charset="0"/>
                  <a:cs typeface="Arial" panose="020B0604020202020204" pitchFamily="34" charset="0"/>
                </a:rPr>
                <a:t>Data.altinn.no</a:t>
              </a:r>
            </a:p>
            <a:p>
              <a:pPr defTabSz="1219078"/>
              <a:r>
                <a:rPr lang="nb-NO" sz="1866" dirty="0">
                  <a:solidFill>
                    <a:prstClr val="black"/>
                  </a:solidFill>
                  <a:latin typeface="Arial" panose="020B0604020202020204" pitchFamily="34" charset="0"/>
                  <a:cs typeface="Arial" panose="020B0604020202020204" pitchFamily="34" charset="0"/>
                </a:rPr>
                <a:t>DiBK</a:t>
              </a:r>
            </a:p>
            <a:p>
              <a:pPr defTabSz="1219078"/>
              <a:r>
                <a:rPr lang="nb-NO" sz="1866" dirty="0">
                  <a:solidFill>
                    <a:prstClr val="black"/>
                  </a:solidFill>
                  <a:latin typeface="Arial" panose="020B0604020202020204" pitchFamily="34" charset="0"/>
                  <a:cs typeface="Arial" panose="020B0604020202020204" pitchFamily="34" charset="0"/>
                </a:rPr>
                <a:t>Halden kommune</a:t>
              </a:r>
            </a:p>
            <a:p>
              <a:pPr defTabSz="1219078"/>
              <a:r>
                <a:rPr lang="nb-NO" sz="1866" dirty="0">
                  <a:solidFill>
                    <a:prstClr val="black"/>
                  </a:solidFill>
                  <a:latin typeface="Arial" panose="020B0604020202020204" pitchFamily="34" charset="0"/>
                  <a:cs typeface="Arial" panose="020B0604020202020204" pitchFamily="34" charset="0"/>
                </a:rPr>
                <a:t>Helse sør-øst</a:t>
              </a:r>
            </a:p>
            <a:p>
              <a:pPr defTabSz="1219078"/>
              <a:r>
                <a:rPr lang="nb-NO" sz="1866" dirty="0">
                  <a:solidFill>
                    <a:prstClr val="black"/>
                  </a:solidFill>
                  <a:latin typeface="Arial" panose="020B0604020202020204" pitchFamily="34" charset="0"/>
                  <a:cs typeface="Arial" panose="020B0604020202020204" pitchFamily="34" charset="0"/>
                </a:rPr>
                <a:t>KUDAF</a:t>
              </a:r>
            </a:p>
            <a:p>
              <a:pPr defTabSz="1219078"/>
              <a:endParaRPr lang="nb-NO" sz="1866" dirty="0">
                <a:solidFill>
                  <a:prstClr val="black"/>
                </a:solidFill>
                <a:latin typeface="Arial" panose="020B0604020202020204" pitchFamily="34" charset="0"/>
                <a:cs typeface="Arial" panose="020B0604020202020204" pitchFamily="34" charset="0"/>
              </a:endParaRPr>
            </a:p>
            <a:p>
              <a:pPr marL="609539" lvl="1" defTabSz="1219078"/>
              <a:endParaRPr lang="nb-NO" sz="1866" dirty="0">
                <a:solidFill>
                  <a:prstClr val="black"/>
                </a:solidFill>
                <a:latin typeface="Arial" panose="020B0604020202020204" pitchFamily="34" charset="0"/>
                <a:cs typeface="Arial" panose="020B0604020202020204" pitchFamily="34" charset="0"/>
              </a:endParaRPr>
            </a:p>
            <a:p>
              <a:pPr marL="609539" lvl="1" defTabSz="1219078"/>
              <a:endParaRPr lang="nb-NO" sz="1866" dirty="0">
                <a:solidFill>
                  <a:prstClr val="black"/>
                </a:solidFill>
                <a:latin typeface="Arial" panose="020B0604020202020204" pitchFamily="34" charset="0"/>
                <a:cs typeface="Arial" panose="020B0604020202020204" pitchFamily="34" charset="0"/>
              </a:endParaRPr>
            </a:p>
            <a:p>
              <a:pPr marL="609539" lvl="1" defTabSz="1219078"/>
              <a:endParaRPr lang="nb-NO" sz="1866" dirty="0">
                <a:solidFill>
                  <a:prstClr val="black"/>
                </a:solidFill>
                <a:latin typeface="Arial" panose="020B0604020202020204" pitchFamily="34" charset="0"/>
                <a:cs typeface="Arial" panose="020B0604020202020204" pitchFamily="34" charset="0"/>
              </a:endParaRPr>
            </a:p>
            <a:p>
              <a:pPr marL="609539" lvl="1" defTabSz="1219078"/>
              <a:endParaRPr lang="nb-NO" sz="1866" dirty="0">
                <a:solidFill>
                  <a:prstClr val="black"/>
                </a:solidFill>
                <a:latin typeface="Arial" panose="020B0604020202020204" pitchFamily="34" charset="0"/>
                <a:cs typeface="Arial" panose="020B0604020202020204" pitchFamily="34" charset="0"/>
              </a:endParaRPr>
            </a:p>
            <a:p>
              <a:pPr marL="609539" lvl="1" defTabSz="1219078"/>
              <a:endParaRPr lang="nb-NO" sz="1866" dirty="0">
                <a:solidFill>
                  <a:prstClr val="black"/>
                </a:solidFill>
                <a:latin typeface="Arial" panose="020B0604020202020204" pitchFamily="34" charset="0"/>
                <a:cs typeface="Arial" panose="020B0604020202020204" pitchFamily="34" charset="0"/>
              </a:endParaRPr>
            </a:p>
            <a:p>
              <a:pPr marL="609539" lvl="1" defTabSz="1219078"/>
              <a:r>
                <a:rPr lang="nb-NO" sz="1866" dirty="0">
                  <a:solidFill>
                    <a:prstClr val="black"/>
                  </a:solidFill>
                  <a:latin typeface="Arial" panose="020B0604020202020204" pitchFamily="34" charset="0"/>
                  <a:cs typeface="Arial" panose="020B0604020202020204" pitchFamily="34" charset="0"/>
                </a:rPr>
                <a:t>KS (FIKS)</a:t>
              </a:r>
            </a:p>
            <a:p>
              <a:pPr marL="609539" lvl="1" algn="just" defTabSz="1219078"/>
              <a:r>
                <a:rPr lang="nb-NO" sz="1866" dirty="0">
                  <a:solidFill>
                    <a:prstClr val="black"/>
                  </a:solidFill>
                  <a:latin typeface="Arial" panose="020B0604020202020204" pitchFamily="34" charset="0"/>
                  <a:cs typeface="Arial" panose="020B0604020202020204" pitchFamily="34" charset="0"/>
                </a:rPr>
                <a:t>Lånekassen</a:t>
              </a:r>
            </a:p>
            <a:p>
              <a:pPr marL="609539" lvl="1" algn="just" defTabSz="1219078"/>
              <a:r>
                <a:rPr lang="nb-NO" sz="1866" dirty="0">
                  <a:solidFill>
                    <a:prstClr val="black"/>
                  </a:solidFill>
                  <a:latin typeface="Arial" panose="020B0604020202020204" pitchFamily="34" charset="0"/>
                  <a:cs typeface="Arial" panose="020B0604020202020204" pitchFamily="34" charset="0"/>
                </a:rPr>
                <a:t>Motkraft</a:t>
              </a:r>
            </a:p>
            <a:p>
              <a:pPr marL="609539" lvl="1" algn="just" defTabSz="1219078"/>
              <a:r>
                <a:rPr lang="nb-NO" sz="1866" dirty="0">
                  <a:solidFill>
                    <a:prstClr val="black"/>
                  </a:solidFill>
                  <a:latin typeface="Arial" panose="020B0604020202020204" pitchFamily="34" charset="0"/>
                  <a:cs typeface="Arial" panose="020B0604020202020204" pitchFamily="34" charset="0"/>
                </a:rPr>
                <a:t>NHN</a:t>
              </a:r>
            </a:p>
            <a:p>
              <a:pPr marL="609539" lvl="1" algn="just" defTabSz="1219078"/>
              <a:r>
                <a:rPr lang="nb-NO" sz="1866" dirty="0">
                  <a:solidFill>
                    <a:prstClr val="black"/>
                  </a:solidFill>
                  <a:latin typeface="Arial" panose="020B0604020202020204" pitchFamily="34" charset="0"/>
                  <a:cs typeface="Arial" panose="020B0604020202020204" pitchFamily="34" charset="0"/>
                </a:rPr>
                <a:t>Politiet (PIT)</a:t>
              </a:r>
            </a:p>
            <a:p>
              <a:pPr marL="609539" lvl="1" algn="just" defTabSz="1219078"/>
              <a:r>
                <a:rPr lang="nb-NO" sz="1866" dirty="0">
                  <a:solidFill>
                    <a:prstClr val="black"/>
                  </a:solidFill>
                  <a:latin typeface="Arial" panose="020B0604020202020204" pitchFamily="34" charset="0"/>
                  <a:cs typeface="Arial" panose="020B0604020202020204" pitchFamily="34" charset="0"/>
                </a:rPr>
                <a:t>SPK</a:t>
              </a:r>
            </a:p>
            <a:p>
              <a:pPr marL="609539" lvl="1" algn="just" defTabSz="1219078"/>
              <a:r>
                <a:rPr lang="nb-NO" sz="1866" dirty="0">
                  <a:solidFill>
                    <a:prstClr val="black"/>
                  </a:solidFill>
                  <a:latin typeface="Arial" panose="020B0604020202020204" pitchFamily="34" charset="0"/>
                  <a:cs typeface="Arial" panose="020B0604020202020204" pitchFamily="34" charset="0"/>
                </a:rPr>
                <a:t>TietoEvry</a:t>
              </a:r>
            </a:p>
            <a:p>
              <a:pPr marL="609539" lvl="1" algn="just" defTabSz="1219078"/>
              <a:r>
                <a:rPr lang="nb-NO" sz="1866" dirty="0">
                  <a:solidFill>
                    <a:prstClr val="black"/>
                  </a:solidFill>
                  <a:latin typeface="Arial" panose="020B0604020202020204" pitchFamily="34" charset="0"/>
                  <a:cs typeface="Arial" panose="020B0604020202020204" pitchFamily="34" charset="0"/>
                </a:rPr>
                <a:t>UDI</a:t>
              </a:r>
            </a:p>
            <a:p>
              <a:pPr defTabSz="1219078"/>
              <a:endParaRPr lang="nb-NO" sz="1866" dirty="0">
                <a:solidFill>
                  <a:prstClr val="black"/>
                </a:solidFill>
                <a:latin typeface="Arial" panose="020B0604020202020204" pitchFamily="34" charset="0"/>
                <a:cs typeface="Arial" panose="020B0604020202020204" pitchFamily="34" charset="0"/>
              </a:endParaRPr>
            </a:p>
          </p:txBody>
        </p:sp>
      </p:grpSp>
      <p:grpSp>
        <p:nvGrpSpPr>
          <p:cNvPr id="18" name="Gruppe 17">
            <a:extLst>
              <a:ext uri="{FF2B5EF4-FFF2-40B4-BE49-F238E27FC236}">
                <a16:creationId xmlns:a16="http://schemas.microsoft.com/office/drawing/2014/main" id="{1174A7FE-C1F6-43FE-BE85-595516CC388E}"/>
              </a:ext>
            </a:extLst>
          </p:cNvPr>
          <p:cNvGrpSpPr/>
          <p:nvPr/>
        </p:nvGrpSpPr>
        <p:grpSpPr>
          <a:xfrm>
            <a:off x="11123266" y="3341398"/>
            <a:ext cx="4531964" cy="3228519"/>
            <a:chOff x="8343264" y="1540219"/>
            <a:chExt cx="3399305" cy="2421626"/>
          </a:xfrm>
        </p:grpSpPr>
        <p:pic>
          <p:nvPicPr>
            <p:cNvPr id="12" name="Bilde 11">
              <a:extLst>
                <a:ext uri="{FF2B5EF4-FFF2-40B4-BE49-F238E27FC236}">
                  <a16:creationId xmlns:a16="http://schemas.microsoft.com/office/drawing/2014/main" id="{1709C5C8-17E4-4977-A658-E6D2A97CFB87}"/>
                </a:ext>
              </a:extLst>
            </p:cNvPr>
            <p:cNvPicPr>
              <a:picLocks noChangeAspect="1"/>
            </p:cNvPicPr>
            <p:nvPr/>
          </p:nvPicPr>
          <p:blipFill>
            <a:blip r:embed="rId4">
              <a:duotone>
                <a:prstClr val="black"/>
                <a:srgbClr val="F05F63">
                  <a:tint val="45000"/>
                  <a:satMod val="400000"/>
                </a:srgbClr>
              </a:duotone>
            </a:blip>
            <a:stretch>
              <a:fillRect/>
            </a:stretch>
          </p:blipFill>
          <p:spPr>
            <a:xfrm>
              <a:off x="9529917" y="1540219"/>
              <a:ext cx="1026000" cy="1026000"/>
            </a:xfrm>
            <a:prstGeom prst="rect">
              <a:avLst/>
            </a:prstGeom>
          </p:spPr>
        </p:pic>
        <p:sp>
          <p:nvSpPr>
            <p:cNvPr id="15" name="TekstSylinder 14">
              <a:extLst>
                <a:ext uri="{FF2B5EF4-FFF2-40B4-BE49-F238E27FC236}">
                  <a16:creationId xmlns:a16="http://schemas.microsoft.com/office/drawing/2014/main" id="{4385E39D-BCC5-4DC1-A87A-BBE1EFD81B91}"/>
                </a:ext>
              </a:extLst>
            </p:cNvPr>
            <p:cNvSpPr txBox="1"/>
            <p:nvPr/>
          </p:nvSpPr>
          <p:spPr>
            <a:xfrm>
              <a:off x="8343264" y="3031114"/>
              <a:ext cx="3399305" cy="930731"/>
            </a:xfrm>
            <a:prstGeom prst="rect">
              <a:avLst/>
            </a:prstGeom>
            <a:noFill/>
          </p:spPr>
          <p:txBody>
            <a:bodyPr wrap="square" rtlCol="0">
              <a:spAutoFit/>
            </a:bodyPr>
            <a:lstStyle/>
            <a:p>
              <a:pPr algn="ctr" defTabSz="1219078"/>
              <a:r>
                <a:rPr lang="nb-NO" sz="1866" dirty="0">
                  <a:solidFill>
                    <a:prstClr val="black"/>
                  </a:solidFill>
                  <a:latin typeface="Arial" panose="020B0604020202020204" pitchFamily="34" charset="0"/>
                  <a:cs typeface="Arial" panose="020B0604020202020204" pitchFamily="34" charset="0"/>
                </a:rPr>
                <a:t>DIGG.SE</a:t>
              </a:r>
            </a:p>
            <a:p>
              <a:pPr algn="ctr" defTabSz="1219078"/>
              <a:r>
                <a:rPr lang="nb-NO" sz="1866" dirty="0">
                  <a:solidFill>
                    <a:prstClr val="black"/>
                  </a:solidFill>
                  <a:latin typeface="Arial" panose="020B0604020202020204" pitchFamily="34" charset="0"/>
                  <a:cs typeface="Arial" panose="020B0604020202020204" pitchFamily="34" charset="0"/>
                </a:rPr>
                <a:t>BRAIF</a:t>
              </a:r>
            </a:p>
            <a:p>
              <a:pPr algn="ctr" defTabSz="1219078"/>
              <a:r>
                <a:rPr lang="nb-NO" sz="1866" dirty="0">
                  <a:solidFill>
                    <a:prstClr val="black"/>
                  </a:solidFill>
                  <a:latin typeface="Arial" panose="020B0604020202020204" pitchFamily="34" charset="0"/>
                  <a:cs typeface="Arial" panose="020B0604020202020204" pitchFamily="34" charset="0"/>
                </a:rPr>
                <a:t>Styrelsen for Dataforsyning og Infrastruktur</a:t>
              </a:r>
            </a:p>
          </p:txBody>
        </p:sp>
      </p:grpSp>
      <p:grpSp>
        <p:nvGrpSpPr>
          <p:cNvPr id="7" name="Gruppe 6">
            <a:extLst>
              <a:ext uri="{FF2B5EF4-FFF2-40B4-BE49-F238E27FC236}">
                <a16:creationId xmlns:a16="http://schemas.microsoft.com/office/drawing/2014/main" id="{AB5E1FD9-8D9F-681C-4206-07395B6B140C}"/>
              </a:ext>
            </a:extLst>
          </p:cNvPr>
          <p:cNvGrpSpPr/>
          <p:nvPr/>
        </p:nvGrpSpPr>
        <p:grpSpPr>
          <a:xfrm>
            <a:off x="1284622" y="3339438"/>
            <a:ext cx="2910740" cy="3230479"/>
            <a:chOff x="963561" y="2504488"/>
            <a:chExt cx="2183268" cy="2423096"/>
          </a:xfrm>
        </p:grpSpPr>
        <p:grpSp>
          <p:nvGrpSpPr>
            <p:cNvPr id="16" name="Gruppe 15">
              <a:extLst>
                <a:ext uri="{FF2B5EF4-FFF2-40B4-BE49-F238E27FC236}">
                  <a16:creationId xmlns:a16="http://schemas.microsoft.com/office/drawing/2014/main" id="{B76FC41C-73FC-4B94-B95A-4660956B9D3E}"/>
                </a:ext>
              </a:extLst>
            </p:cNvPr>
            <p:cNvGrpSpPr/>
            <p:nvPr/>
          </p:nvGrpSpPr>
          <p:grpSpPr>
            <a:xfrm>
              <a:off x="963561" y="2504488"/>
              <a:ext cx="1976284" cy="2423096"/>
              <a:chOff x="963561" y="1538749"/>
              <a:chExt cx="1976284" cy="2423096"/>
            </a:xfrm>
          </p:grpSpPr>
          <p:pic>
            <p:nvPicPr>
              <p:cNvPr id="10" name="Bilde 9">
                <a:extLst>
                  <a:ext uri="{FF2B5EF4-FFF2-40B4-BE49-F238E27FC236}">
                    <a16:creationId xmlns:a16="http://schemas.microsoft.com/office/drawing/2014/main" id="{C75C54CF-D9EB-4B0D-A3C9-A92B4D9535DD}"/>
                  </a:ext>
                </a:extLst>
              </p:cNvPr>
              <p:cNvPicPr>
                <a:picLocks noChangeAspect="1"/>
              </p:cNvPicPr>
              <p:nvPr/>
            </p:nvPicPr>
            <p:blipFill>
              <a:blip r:embed="rId5">
                <a:duotone>
                  <a:prstClr val="black"/>
                  <a:srgbClr val="F05F63">
                    <a:tint val="45000"/>
                    <a:satMod val="400000"/>
                  </a:srgbClr>
                </a:duotone>
              </a:blip>
              <a:stretch>
                <a:fillRect/>
              </a:stretch>
            </p:blipFill>
            <p:spPr>
              <a:xfrm>
                <a:off x="1437968" y="1538749"/>
                <a:ext cx="1027470" cy="1027470"/>
              </a:xfrm>
              <a:prstGeom prst="rect">
                <a:avLst/>
              </a:prstGeom>
            </p:spPr>
          </p:pic>
          <p:sp>
            <p:nvSpPr>
              <p:cNvPr id="13" name="TekstSylinder 12">
                <a:extLst>
                  <a:ext uri="{FF2B5EF4-FFF2-40B4-BE49-F238E27FC236}">
                    <a16:creationId xmlns:a16="http://schemas.microsoft.com/office/drawing/2014/main" id="{4845728C-86F9-471E-9045-D38BDC3BC312}"/>
                  </a:ext>
                </a:extLst>
              </p:cNvPr>
              <p:cNvSpPr txBox="1"/>
              <p:nvPr/>
            </p:nvSpPr>
            <p:spPr>
              <a:xfrm>
                <a:off x="963561" y="3031114"/>
                <a:ext cx="1976284" cy="930731"/>
              </a:xfrm>
              <a:prstGeom prst="rect">
                <a:avLst/>
              </a:prstGeom>
              <a:noFill/>
            </p:spPr>
            <p:txBody>
              <a:bodyPr wrap="square" rtlCol="0">
                <a:spAutoFit/>
              </a:bodyPr>
              <a:lstStyle/>
              <a:p>
                <a:pPr algn="ctr" defTabSz="1219078"/>
                <a:r>
                  <a:rPr lang="nb-NO" sz="1866" dirty="0">
                    <a:solidFill>
                      <a:prstClr val="black"/>
                    </a:solidFill>
                    <a:latin typeface="Arial" panose="020B0604020202020204" pitchFamily="34" charset="0"/>
                    <a:cs typeface="Arial" panose="020B0604020202020204" pitchFamily="34" charset="0"/>
                  </a:rPr>
                  <a:t>Enhetsregisteret</a:t>
                </a:r>
              </a:p>
              <a:p>
                <a:pPr algn="ctr" defTabSz="1219078"/>
                <a:r>
                  <a:rPr lang="nb-NO" sz="1866" dirty="0">
                    <a:solidFill>
                      <a:prstClr val="black"/>
                    </a:solidFill>
                    <a:latin typeface="Arial" panose="020B0604020202020204" pitchFamily="34" charset="0"/>
                    <a:cs typeface="Arial" panose="020B0604020202020204" pitchFamily="34" charset="0"/>
                  </a:rPr>
                  <a:t>Folkeregisteret</a:t>
                </a:r>
              </a:p>
              <a:p>
                <a:pPr algn="ctr" defTabSz="1219078"/>
                <a:r>
                  <a:rPr lang="nb-NO" sz="1866" dirty="0">
                    <a:solidFill>
                      <a:prstClr val="black"/>
                    </a:solidFill>
                    <a:latin typeface="Arial" panose="020B0604020202020204" pitchFamily="34" charset="0"/>
                    <a:cs typeface="Arial" panose="020B0604020202020204" pitchFamily="34" charset="0"/>
                  </a:rPr>
                  <a:t>KRR</a:t>
                </a:r>
              </a:p>
              <a:p>
                <a:pPr algn="ctr" defTabSz="1219078"/>
                <a:r>
                  <a:rPr lang="nb-NO" sz="1866" dirty="0">
                    <a:solidFill>
                      <a:prstClr val="black"/>
                    </a:solidFill>
                    <a:latin typeface="Arial" panose="020B0604020202020204" pitchFamily="34" charset="0"/>
                    <a:cs typeface="Arial" panose="020B0604020202020204" pitchFamily="34" charset="0"/>
                  </a:rPr>
                  <a:t>Matrikkelen</a:t>
                </a:r>
              </a:p>
            </p:txBody>
          </p:sp>
        </p:grpSp>
        <p:sp>
          <p:nvSpPr>
            <p:cNvPr id="6" name="TekstSylinder 5">
              <a:extLst>
                <a:ext uri="{FF2B5EF4-FFF2-40B4-BE49-F238E27FC236}">
                  <a16:creationId xmlns:a16="http://schemas.microsoft.com/office/drawing/2014/main" id="{19BFB388-935E-3579-999C-256DD2332A01}"/>
                </a:ext>
              </a:extLst>
            </p:cNvPr>
            <p:cNvSpPr txBox="1"/>
            <p:nvPr/>
          </p:nvSpPr>
          <p:spPr>
            <a:xfrm>
              <a:off x="1170545" y="3585425"/>
              <a:ext cx="1976284" cy="284625"/>
            </a:xfrm>
            <a:prstGeom prst="rect">
              <a:avLst/>
            </a:prstGeom>
            <a:noFill/>
          </p:spPr>
          <p:txBody>
            <a:bodyPr wrap="square" rtlCol="0">
              <a:spAutoFit/>
            </a:bodyPr>
            <a:lstStyle/>
            <a:p>
              <a:pPr defTabSz="1219078"/>
              <a:r>
                <a:rPr lang="nb-NO" sz="1866" b="1" dirty="0">
                  <a:solidFill>
                    <a:prstClr val="black"/>
                  </a:solidFill>
                  <a:latin typeface="Arial" panose="020B0604020202020204" pitchFamily="34" charset="0"/>
                  <a:cs typeface="Arial" panose="020B0604020202020204" pitchFamily="34" charset="0"/>
                </a:rPr>
                <a:t>Fellesløsningene</a:t>
              </a:r>
            </a:p>
          </p:txBody>
        </p:sp>
      </p:grpSp>
      <p:sp>
        <p:nvSpPr>
          <p:cNvPr id="11" name="TekstSylinder 10">
            <a:extLst>
              <a:ext uri="{FF2B5EF4-FFF2-40B4-BE49-F238E27FC236}">
                <a16:creationId xmlns:a16="http://schemas.microsoft.com/office/drawing/2014/main" id="{4C4E1258-1B86-D3E1-D1C8-0FA255656172}"/>
              </a:ext>
            </a:extLst>
          </p:cNvPr>
          <p:cNvSpPr txBox="1"/>
          <p:nvPr/>
        </p:nvSpPr>
        <p:spPr>
          <a:xfrm>
            <a:off x="6135137" y="4780548"/>
            <a:ext cx="3984139" cy="379463"/>
          </a:xfrm>
          <a:prstGeom prst="rect">
            <a:avLst/>
          </a:prstGeom>
          <a:noFill/>
        </p:spPr>
        <p:txBody>
          <a:bodyPr wrap="square" rtlCol="0">
            <a:spAutoFit/>
          </a:bodyPr>
          <a:lstStyle/>
          <a:p>
            <a:pPr defTabSz="1219078"/>
            <a:r>
              <a:rPr lang="nb-NO" sz="1866" b="1" dirty="0">
                <a:solidFill>
                  <a:prstClr val="black"/>
                </a:solidFill>
                <a:latin typeface="Arial" panose="020B0604020202020204" pitchFamily="34" charset="0"/>
                <a:cs typeface="Arial" panose="020B0604020202020204" pitchFamily="34" charset="0"/>
              </a:rPr>
              <a:t>Konsumenter og distributører</a:t>
            </a:r>
          </a:p>
        </p:txBody>
      </p:sp>
      <p:sp>
        <p:nvSpPr>
          <p:cNvPr id="20" name="TekstSylinder 19">
            <a:extLst>
              <a:ext uri="{FF2B5EF4-FFF2-40B4-BE49-F238E27FC236}">
                <a16:creationId xmlns:a16="http://schemas.microsoft.com/office/drawing/2014/main" id="{86D843B1-45D6-AC39-F3FA-30D34E1AA542}"/>
              </a:ext>
            </a:extLst>
          </p:cNvPr>
          <p:cNvSpPr txBox="1"/>
          <p:nvPr/>
        </p:nvSpPr>
        <p:spPr>
          <a:xfrm>
            <a:off x="12081112" y="4780547"/>
            <a:ext cx="3984139" cy="379463"/>
          </a:xfrm>
          <a:prstGeom prst="rect">
            <a:avLst/>
          </a:prstGeom>
          <a:noFill/>
        </p:spPr>
        <p:txBody>
          <a:bodyPr wrap="square" rtlCol="0">
            <a:spAutoFit/>
          </a:bodyPr>
          <a:lstStyle/>
          <a:p>
            <a:pPr defTabSz="1219078"/>
            <a:r>
              <a:rPr lang="nb-NO" sz="1866" b="1" dirty="0">
                <a:solidFill>
                  <a:prstClr val="black"/>
                </a:solidFill>
                <a:latin typeface="Arial" panose="020B0604020202020204" pitchFamily="34" charset="0"/>
                <a:cs typeface="Arial" panose="020B0604020202020204" pitchFamily="34" charset="0"/>
              </a:rPr>
              <a:t>Internasjonale aktører</a:t>
            </a:r>
          </a:p>
        </p:txBody>
      </p:sp>
      <p:sp>
        <p:nvSpPr>
          <p:cNvPr id="3" name="Tittel 2">
            <a:extLst>
              <a:ext uri="{FF2B5EF4-FFF2-40B4-BE49-F238E27FC236}">
                <a16:creationId xmlns:a16="http://schemas.microsoft.com/office/drawing/2014/main" id="{EB1D2D20-79E4-58C9-86B9-4FE6EE24856A}"/>
              </a:ext>
            </a:extLst>
          </p:cNvPr>
          <p:cNvSpPr>
            <a:spLocks noGrp="1"/>
          </p:cNvSpPr>
          <p:nvPr>
            <p:ph type="title"/>
          </p:nvPr>
        </p:nvSpPr>
        <p:spPr>
          <a:xfrm>
            <a:off x="936376" y="719519"/>
            <a:ext cx="13680000" cy="692430"/>
          </a:xfrm>
        </p:spPr>
        <p:txBody>
          <a:bodyPr/>
          <a:lstStyle/>
          <a:p>
            <a:r>
              <a:rPr lang="nb-NO" dirty="0"/>
              <a:t>Kunnskapsgrunnlaget</a:t>
            </a:r>
          </a:p>
        </p:txBody>
      </p:sp>
    </p:spTree>
    <p:extLst>
      <p:ext uri="{BB962C8B-B14F-4D97-AF65-F5344CB8AC3E}">
        <p14:creationId xmlns:p14="http://schemas.microsoft.com/office/powerpoint/2010/main" val="223302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CA34609E-BB85-4B14-AA67-AB460EF578D3}"/>
              </a:ext>
            </a:extLst>
          </p:cNvPr>
          <p:cNvSpPr>
            <a:spLocks noGrp="1"/>
          </p:cNvSpPr>
          <p:nvPr>
            <p:ph type="title"/>
          </p:nvPr>
        </p:nvSpPr>
        <p:spPr>
          <a:xfrm>
            <a:off x="4721157" y="692558"/>
            <a:ext cx="7277740" cy="1767245"/>
          </a:xfrm>
        </p:spPr>
        <p:txBody>
          <a:bodyPr>
            <a:noAutofit/>
          </a:bodyPr>
          <a:lstStyle/>
          <a:p>
            <a:r>
              <a:rPr lang="nb-NO" sz="3200" dirty="0">
                <a:latin typeface="Arial" panose="020B0604020202020204" pitchFamily="34" charset="0"/>
                <a:cs typeface="Arial" panose="020B0604020202020204" pitchFamily="34" charset="0"/>
              </a:rPr>
              <a:t>Spørsmål strukturert i fire tema hentet fra felleskomponentrapporten fra 2010</a:t>
            </a:r>
          </a:p>
        </p:txBody>
      </p:sp>
      <p:pic>
        <p:nvPicPr>
          <p:cNvPr id="8" name="Bilde 7">
            <a:extLst>
              <a:ext uri="{FF2B5EF4-FFF2-40B4-BE49-F238E27FC236}">
                <a16:creationId xmlns:a16="http://schemas.microsoft.com/office/drawing/2014/main" id="{64A5118C-7135-4BC4-84A9-900310CCF7C9}"/>
              </a:ext>
            </a:extLst>
          </p:cNvPr>
          <p:cNvPicPr>
            <a:picLocks noChangeAspect="1"/>
          </p:cNvPicPr>
          <p:nvPr/>
        </p:nvPicPr>
        <p:blipFill>
          <a:blip r:embed="rId3"/>
          <a:stretch>
            <a:fillRect/>
          </a:stretch>
        </p:blipFill>
        <p:spPr>
          <a:xfrm>
            <a:off x="735488" y="2011879"/>
            <a:ext cx="3115504" cy="4388033"/>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a:solidFill>
            <a:srgbClr val="A4A5A7"/>
          </a:solidFill>
        </p:spPr>
      </p:pic>
      <p:sp>
        <p:nvSpPr>
          <p:cNvPr id="43" name="Plassholder for innhold 5">
            <a:extLst>
              <a:ext uri="{FF2B5EF4-FFF2-40B4-BE49-F238E27FC236}">
                <a16:creationId xmlns:a16="http://schemas.microsoft.com/office/drawing/2014/main" id="{D5E137C4-6D2C-4320-9351-8D5B398EE717}"/>
              </a:ext>
            </a:extLst>
          </p:cNvPr>
          <p:cNvSpPr>
            <a:spLocks noGrp="1"/>
          </p:cNvSpPr>
          <p:nvPr>
            <p:ph idx="1"/>
          </p:nvPr>
        </p:nvSpPr>
        <p:spPr>
          <a:xfrm>
            <a:off x="4721157" y="2863870"/>
            <a:ext cx="11338119" cy="5875617"/>
          </a:xfrm>
        </p:spPr>
        <p:txBody>
          <a:bodyPr>
            <a:normAutofit/>
          </a:bodyPr>
          <a:lstStyle/>
          <a:p>
            <a:pPr marL="0" indent="0">
              <a:spcBef>
                <a:spcPts val="0"/>
              </a:spcBef>
              <a:buNone/>
            </a:pPr>
            <a:endParaRPr lang="nb-NO">
              <a:latin typeface="Arial" panose="020B0604020202020204" pitchFamily="34" charset="0"/>
              <a:cs typeface="Arial" panose="020B0604020202020204" pitchFamily="34" charset="0"/>
            </a:endParaRPr>
          </a:p>
          <a:p>
            <a:pPr marL="457154" indent="-457154">
              <a:spcBef>
                <a:spcPts val="0"/>
              </a:spcBef>
              <a:buAutoNum type="arabicPeriod"/>
            </a:pPr>
            <a:r>
              <a:rPr lang="nb-NO">
                <a:latin typeface="Arial" panose="020B0604020202020204" pitchFamily="34" charset="0"/>
                <a:cs typeface="Arial" panose="020B0604020202020204" pitchFamily="34" charset="0"/>
              </a:rPr>
              <a:t>Brukerrelevans: Har </a:t>
            </a:r>
            <a:r>
              <a:rPr lang="nb-NO">
                <a:effectLst/>
                <a:latin typeface="Arial" panose="020B0604020202020204" pitchFamily="34" charset="0"/>
                <a:cs typeface="Arial" panose="020B0604020202020204" pitchFamily="34" charset="0"/>
              </a:rPr>
              <a:t>registeret innhold som er relevant for brukerne?</a:t>
            </a:r>
          </a:p>
          <a:p>
            <a:pPr marL="457154" indent="-457154">
              <a:spcBef>
                <a:spcPts val="0"/>
              </a:spcBef>
              <a:buAutoNum type="arabicPeriod"/>
            </a:pPr>
            <a:r>
              <a:rPr lang="nb-NO">
                <a:effectLst/>
                <a:latin typeface="Arial" panose="020B0604020202020204" pitchFamily="34" charset="0"/>
                <a:cs typeface="Arial" panose="020B0604020202020204" pitchFamily="34" charset="0"/>
              </a:rPr>
              <a:t>Datakvalitet: Er innholdet i registeret av tilfredsstillende kvalitet</a:t>
            </a:r>
            <a:r>
              <a:rPr lang="nb-NO">
                <a:latin typeface="Arial" panose="020B0604020202020204" pitchFamily="34" charset="0"/>
                <a:cs typeface="Arial" panose="020B0604020202020204" pitchFamily="34" charset="0"/>
              </a:rPr>
              <a:t>?</a:t>
            </a:r>
          </a:p>
          <a:p>
            <a:pPr marL="457154" indent="-457154">
              <a:spcBef>
                <a:spcPts val="0"/>
              </a:spcBef>
              <a:buAutoNum type="arabicPeriod"/>
            </a:pPr>
            <a:r>
              <a:rPr lang="nb-NO">
                <a:effectLst/>
                <a:latin typeface="Arial" panose="020B0604020202020204" pitchFamily="34" charset="0"/>
                <a:cs typeface="Arial" panose="020B0604020202020204" pitchFamily="34" charset="0"/>
              </a:rPr>
              <a:t>Tilgjengelighet: Er registeret tilgjengelig på en tilfredsstillende måte (oppetid, tekn</a:t>
            </a:r>
            <a:r>
              <a:rPr lang="nb-NO">
                <a:latin typeface="Arial" panose="020B0604020202020204" pitchFamily="34" charset="0"/>
                <a:cs typeface="Arial" panose="020B0604020202020204" pitchFamily="34" charset="0"/>
              </a:rPr>
              <a:t>isk løsning </a:t>
            </a:r>
            <a:r>
              <a:rPr lang="nb-NO" err="1">
                <a:latin typeface="Arial" panose="020B0604020202020204" pitchFamily="34" charset="0"/>
                <a:cs typeface="Arial" panose="020B0604020202020204" pitchFamily="34" charset="0"/>
              </a:rPr>
              <a:t>m.m</a:t>
            </a:r>
            <a:r>
              <a:rPr lang="nb-NO">
                <a:latin typeface="Arial" panose="020B0604020202020204" pitchFamily="34" charset="0"/>
                <a:cs typeface="Arial" panose="020B0604020202020204" pitchFamily="34" charset="0"/>
              </a:rPr>
              <a:t>)?</a:t>
            </a:r>
          </a:p>
          <a:p>
            <a:pPr marL="457154" indent="-457154">
              <a:spcBef>
                <a:spcPts val="0"/>
              </a:spcBef>
              <a:buAutoNum type="arabicPeriod"/>
            </a:pPr>
            <a:r>
              <a:rPr lang="nb-NO">
                <a:effectLst/>
                <a:latin typeface="Arial" panose="020B0604020202020204" pitchFamily="34" charset="0"/>
                <a:cs typeface="Arial" panose="020B0604020202020204" pitchFamily="34" charset="0"/>
              </a:rPr>
              <a:t>Regelverk: Er regelverket oppdatert og relevant i henhold til intensjonene med registeret?</a:t>
            </a:r>
          </a:p>
          <a:p>
            <a:pPr marL="0" indent="0">
              <a:spcBef>
                <a:spcPts val="0"/>
              </a:spcBef>
              <a:buNone/>
            </a:pPr>
            <a:endParaRPr lang="nb-NO">
              <a:effectLst/>
              <a:latin typeface="Arial" panose="020B0604020202020204" pitchFamily="34" charset="0"/>
              <a:cs typeface="Arial" panose="020B0604020202020204" pitchFamily="34" charset="0"/>
            </a:endParaRPr>
          </a:p>
          <a:p>
            <a:endParaRPr lang="nb-NO" sz="2000"/>
          </a:p>
        </p:txBody>
      </p:sp>
    </p:spTree>
    <p:extLst>
      <p:ext uri="{BB962C8B-B14F-4D97-AF65-F5344CB8AC3E}">
        <p14:creationId xmlns:p14="http://schemas.microsoft.com/office/powerpoint/2010/main" val="4240859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a:extLst>
              <a:ext uri="{FF2B5EF4-FFF2-40B4-BE49-F238E27FC236}">
                <a16:creationId xmlns:a16="http://schemas.microsoft.com/office/drawing/2014/main" id="{DDDEE7EE-58B3-35E1-8CEB-4F7D2B9DC159}"/>
              </a:ext>
            </a:extLst>
          </p:cNvPr>
          <p:cNvSpPr>
            <a:spLocks noGrp="1"/>
          </p:cNvSpPr>
          <p:nvPr>
            <p:ph type="pic" sz="quarter" idx="12"/>
          </p:nvPr>
        </p:nvSpPr>
        <p:spPr/>
        <p:txBody>
          <a:bodyPr/>
          <a:lstStyle/>
          <a:p>
            <a:endParaRPr lang="nb-NO"/>
          </a:p>
        </p:txBody>
      </p:sp>
      <p:grpSp>
        <p:nvGrpSpPr>
          <p:cNvPr id="4" name="Gruppe 3">
            <a:extLst>
              <a:ext uri="{FF2B5EF4-FFF2-40B4-BE49-F238E27FC236}">
                <a16:creationId xmlns:a16="http://schemas.microsoft.com/office/drawing/2014/main" id="{96D0EB14-1EBD-6D66-AF92-C2BDDAA74475}"/>
              </a:ext>
            </a:extLst>
          </p:cNvPr>
          <p:cNvGrpSpPr/>
          <p:nvPr/>
        </p:nvGrpSpPr>
        <p:grpSpPr>
          <a:xfrm>
            <a:off x="3505309" y="1381135"/>
            <a:ext cx="9243795" cy="7298758"/>
            <a:chOff x="2467171" y="1543050"/>
            <a:chExt cx="6933523" cy="5474603"/>
          </a:xfrm>
        </p:grpSpPr>
        <p:sp>
          <p:nvSpPr>
            <p:cNvPr id="5" name="Frihåndsform: figur 4">
              <a:extLst>
                <a:ext uri="{FF2B5EF4-FFF2-40B4-BE49-F238E27FC236}">
                  <a16:creationId xmlns:a16="http://schemas.microsoft.com/office/drawing/2014/main" id="{E3B8C18D-7119-0ECF-145C-48947A552A96}"/>
                </a:ext>
              </a:extLst>
            </p:cNvPr>
            <p:cNvSpPr/>
            <p:nvPr/>
          </p:nvSpPr>
          <p:spPr>
            <a:xfrm rot="20368200">
              <a:off x="4856555" y="2147909"/>
              <a:ext cx="4422687" cy="4422636"/>
            </a:xfrm>
            <a:custGeom>
              <a:avLst/>
              <a:gdLst>
                <a:gd name="connsiteX0" fmla="*/ 0 w 4422687"/>
                <a:gd name="connsiteY0" fmla="*/ 0 h 4422636"/>
                <a:gd name="connsiteX1" fmla="*/ 4422688 w 4422687"/>
                <a:gd name="connsiteY1" fmla="*/ 0 h 4422636"/>
                <a:gd name="connsiteX2" fmla="*/ 4422688 w 4422687"/>
                <a:gd name="connsiteY2" fmla="*/ 4422636 h 4422636"/>
                <a:gd name="connsiteX3" fmla="*/ 0 w 4422687"/>
                <a:gd name="connsiteY3" fmla="*/ 4422636 h 4422636"/>
              </a:gdLst>
              <a:ahLst/>
              <a:cxnLst>
                <a:cxn ang="0">
                  <a:pos x="connsiteX0" y="connsiteY0"/>
                </a:cxn>
                <a:cxn ang="0">
                  <a:pos x="connsiteX1" y="connsiteY1"/>
                </a:cxn>
                <a:cxn ang="0">
                  <a:pos x="connsiteX2" y="connsiteY2"/>
                </a:cxn>
                <a:cxn ang="0">
                  <a:pos x="connsiteX3" y="connsiteY3"/>
                </a:cxn>
              </a:cxnLst>
              <a:rect l="l" t="t" r="r" b="b"/>
              <a:pathLst>
                <a:path w="4422687" h="4422636">
                  <a:moveTo>
                    <a:pt x="0" y="0"/>
                  </a:moveTo>
                  <a:lnTo>
                    <a:pt x="4422688" y="0"/>
                  </a:lnTo>
                  <a:lnTo>
                    <a:pt x="4422688" y="4422636"/>
                  </a:lnTo>
                  <a:lnTo>
                    <a:pt x="0" y="4422636"/>
                  </a:lnTo>
                  <a:close/>
                </a:path>
              </a:pathLst>
            </a:custGeom>
            <a:solidFill>
              <a:srgbClr val="E5AA20"/>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6" name="Frihåndsform: figur 5">
              <a:extLst>
                <a:ext uri="{FF2B5EF4-FFF2-40B4-BE49-F238E27FC236}">
                  <a16:creationId xmlns:a16="http://schemas.microsoft.com/office/drawing/2014/main" id="{779D0F44-EE67-928A-0E14-F9A192FEA945}"/>
                </a:ext>
              </a:extLst>
            </p:cNvPr>
            <p:cNvSpPr/>
            <p:nvPr/>
          </p:nvSpPr>
          <p:spPr>
            <a:xfrm>
              <a:off x="2467171" y="1543050"/>
              <a:ext cx="4981681" cy="4981623"/>
            </a:xfrm>
            <a:custGeom>
              <a:avLst/>
              <a:gdLst>
                <a:gd name="connsiteX0" fmla="*/ 4981682 w 4981681"/>
                <a:gd name="connsiteY0" fmla="*/ 2490812 h 4981623"/>
                <a:gd name="connsiteX1" fmla="*/ 2490841 w 4981681"/>
                <a:gd name="connsiteY1" fmla="*/ 4981624 h 4981623"/>
                <a:gd name="connsiteX2" fmla="*/ 0 w 4981681"/>
                <a:gd name="connsiteY2" fmla="*/ 2490812 h 4981623"/>
                <a:gd name="connsiteX3" fmla="*/ 2490841 w 4981681"/>
                <a:gd name="connsiteY3" fmla="*/ 0 h 4981623"/>
                <a:gd name="connsiteX4" fmla="*/ 4981682 w 4981681"/>
                <a:gd name="connsiteY4" fmla="*/ 2490812 h 498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1681" h="4981623">
                  <a:moveTo>
                    <a:pt x="4981682" y="2490812"/>
                  </a:moveTo>
                  <a:cubicBezTo>
                    <a:pt x="4981682" y="3866449"/>
                    <a:pt x="3866494" y="4981624"/>
                    <a:pt x="2490841" y="4981624"/>
                  </a:cubicBezTo>
                  <a:cubicBezTo>
                    <a:pt x="1115187" y="4981624"/>
                    <a:pt x="0" y="3866450"/>
                    <a:pt x="0" y="2490812"/>
                  </a:cubicBezTo>
                  <a:cubicBezTo>
                    <a:pt x="0" y="1115174"/>
                    <a:pt x="1115187" y="0"/>
                    <a:pt x="2490841" y="0"/>
                  </a:cubicBezTo>
                  <a:cubicBezTo>
                    <a:pt x="3866494" y="0"/>
                    <a:pt x="4981682" y="1115174"/>
                    <a:pt x="4981682" y="2490812"/>
                  </a:cubicBezTo>
                  <a:close/>
                </a:path>
              </a:pathLst>
            </a:custGeom>
            <a:solidFill>
              <a:srgbClr val="E5AA20"/>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7" name="Frihåndsform: figur 6">
              <a:extLst>
                <a:ext uri="{FF2B5EF4-FFF2-40B4-BE49-F238E27FC236}">
                  <a16:creationId xmlns:a16="http://schemas.microsoft.com/office/drawing/2014/main" id="{565D69E0-0B63-7F5E-EC8B-FCDD64E3744E}"/>
                </a:ext>
              </a:extLst>
            </p:cNvPr>
            <p:cNvSpPr/>
            <p:nvPr/>
          </p:nvSpPr>
          <p:spPr>
            <a:xfrm>
              <a:off x="5613421" y="3286128"/>
              <a:ext cx="52644" cy="72028"/>
            </a:xfrm>
            <a:custGeom>
              <a:avLst/>
              <a:gdLst>
                <a:gd name="connsiteX0" fmla="*/ 11529 w 52644"/>
                <a:gd name="connsiteY0" fmla="*/ 0 h 72028"/>
                <a:gd name="connsiteX1" fmla="*/ 25914 w 52644"/>
                <a:gd name="connsiteY1" fmla="*/ 7040 h 72028"/>
                <a:gd name="connsiteX2" fmla="*/ 28363 w 52644"/>
                <a:gd name="connsiteY2" fmla="*/ 15814 h 72028"/>
                <a:gd name="connsiteX3" fmla="*/ 36015 w 52644"/>
                <a:gd name="connsiteY3" fmla="*/ 32240 h 72028"/>
                <a:gd name="connsiteX4" fmla="*/ 46217 w 52644"/>
                <a:gd name="connsiteY4" fmla="*/ 46829 h 72028"/>
                <a:gd name="connsiteX5" fmla="*/ 52645 w 52644"/>
                <a:gd name="connsiteY5" fmla="*/ 53256 h 72028"/>
                <a:gd name="connsiteX6" fmla="*/ 51930 w 52644"/>
                <a:gd name="connsiteY6" fmla="*/ 69274 h 72028"/>
                <a:gd name="connsiteX7" fmla="*/ 35300 w 52644"/>
                <a:gd name="connsiteY7" fmla="*/ 72029 h 72028"/>
                <a:gd name="connsiteX8" fmla="*/ 27241 w 52644"/>
                <a:gd name="connsiteY8" fmla="*/ 63867 h 72028"/>
                <a:gd name="connsiteX9" fmla="*/ 13570 w 52644"/>
                <a:gd name="connsiteY9" fmla="*/ 45197 h 72028"/>
                <a:gd name="connsiteX10" fmla="*/ 3367 w 52644"/>
                <a:gd name="connsiteY10" fmla="*/ 24180 h 72028"/>
                <a:gd name="connsiteX11" fmla="*/ 0 w 52644"/>
                <a:gd name="connsiteY11" fmla="*/ 13161 h 72028"/>
                <a:gd name="connsiteX12" fmla="*/ 11529 w 52644"/>
                <a:gd name="connsiteY12" fmla="*/ 0 h 7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44" h="72028">
                  <a:moveTo>
                    <a:pt x="11529" y="0"/>
                  </a:moveTo>
                  <a:cubicBezTo>
                    <a:pt x="17242" y="2653"/>
                    <a:pt x="21731" y="4999"/>
                    <a:pt x="25914" y="7040"/>
                  </a:cubicBezTo>
                  <a:cubicBezTo>
                    <a:pt x="26516" y="10019"/>
                    <a:pt x="27333" y="12957"/>
                    <a:pt x="28363" y="15814"/>
                  </a:cubicBezTo>
                  <a:cubicBezTo>
                    <a:pt x="30393" y="21517"/>
                    <a:pt x="32954" y="27016"/>
                    <a:pt x="36015" y="32240"/>
                  </a:cubicBezTo>
                  <a:cubicBezTo>
                    <a:pt x="38943" y="37412"/>
                    <a:pt x="42361" y="42299"/>
                    <a:pt x="46217" y="46829"/>
                  </a:cubicBezTo>
                  <a:cubicBezTo>
                    <a:pt x="48258" y="49073"/>
                    <a:pt x="50400" y="51216"/>
                    <a:pt x="52645" y="53256"/>
                  </a:cubicBezTo>
                  <a:lnTo>
                    <a:pt x="51930" y="69274"/>
                  </a:lnTo>
                  <a:cubicBezTo>
                    <a:pt x="46564" y="71060"/>
                    <a:pt x="40953" y="71988"/>
                    <a:pt x="35300" y="72029"/>
                  </a:cubicBezTo>
                  <a:cubicBezTo>
                    <a:pt x="32546" y="69376"/>
                    <a:pt x="29791" y="66724"/>
                    <a:pt x="27241" y="63867"/>
                  </a:cubicBezTo>
                  <a:cubicBezTo>
                    <a:pt x="22129" y="58062"/>
                    <a:pt x="17559" y="51818"/>
                    <a:pt x="13570" y="45197"/>
                  </a:cubicBezTo>
                  <a:cubicBezTo>
                    <a:pt x="9529" y="38524"/>
                    <a:pt x="6111" y="31485"/>
                    <a:pt x="3367" y="24180"/>
                  </a:cubicBezTo>
                  <a:cubicBezTo>
                    <a:pt x="2041" y="20507"/>
                    <a:pt x="1224" y="16834"/>
                    <a:pt x="0" y="13161"/>
                  </a:cubicBezTo>
                  <a:cubicBezTo>
                    <a:pt x="3010" y="8111"/>
                    <a:pt x="6917" y="3652"/>
                    <a:pt x="11529" y="0"/>
                  </a:cubicBezTo>
                  <a:close/>
                </a:path>
              </a:pathLst>
            </a:custGeom>
            <a:solidFill>
              <a:srgbClr val="EDCFC5"/>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8" name="Frihåndsform: figur 7">
              <a:extLst>
                <a:ext uri="{FF2B5EF4-FFF2-40B4-BE49-F238E27FC236}">
                  <a16:creationId xmlns:a16="http://schemas.microsoft.com/office/drawing/2014/main" id="{0E579E9E-98BE-7171-C7F8-A4E1697877B1}"/>
                </a:ext>
              </a:extLst>
            </p:cNvPr>
            <p:cNvSpPr/>
            <p:nvPr/>
          </p:nvSpPr>
          <p:spPr>
            <a:xfrm>
              <a:off x="7354066" y="3939982"/>
              <a:ext cx="255938" cy="465716"/>
            </a:xfrm>
            <a:custGeom>
              <a:avLst/>
              <a:gdLst>
                <a:gd name="connsiteX0" fmla="*/ 102132 w 255938"/>
                <a:gd name="connsiteY0" fmla="*/ 3486 h 465716"/>
                <a:gd name="connsiteX1" fmla="*/ 171611 w 255938"/>
                <a:gd name="connsiteY1" fmla="*/ 38481 h 465716"/>
                <a:gd name="connsiteX2" fmla="*/ 251089 w 255938"/>
                <a:gd name="connsiteY2" fmla="*/ 305579 h 465716"/>
                <a:gd name="connsiteX3" fmla="*/ 212217 w 255938"/>
                <a:gd name="connsiteY3" fmla="*/ 463614 h 465716"/>
                <a:gd name="connsiteX4" fmla="*/ 2250 w 255938"/>
                <a:gd name="connsiteY4" fmla="*/ 306497 h 465716"/>
                <a:gd name="connsiteX5" fmla="*/ 37245 w 255938"/>
                <a:gd name="connsiteY5" fmla="*/ 32563 h 4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8" h="465716">
                  <a:moveTo>
                    <a:pt x="102132" y="3486"/>
                  </a:moveTo>
                  <a:cubicBezTo>
                    <a:pt x="124067" y="-6716"/>
                    <a:pt x="144269" y="5629"/>
                    <a:pt x="171611" y="38481"/>
                  </a:cubicBezTo>
                  <a:cubicBezTo>
                    <a:pt x="195689" y="67353"/>
                    <a:pt x="235377" y="175907"/>
                    <a:pt x="251089" y="305579"/>
                  </a:cubicBezTo>
                  <a:cubicBezTo>
                    <a:pt x="264556" y="416581"/>
                    <a:pt x="249457" y="450861"/>
                    <a:pt x="212217" y="463614"/>
                  </a:cubicBezTo>
                  <a:cubicBezTo>
                    <a:pt x="174978" y="476367"/>
                    <a:pt x="15309" y="431987"/>
                    <a:pt x="2250" y="306497"/>
                  </a:cubicBezTo>
                  <a:cubicBezTo>
                    <a:pt x="-10810" y="181008"/>
                    <a:pt x="37245" y="32563"/>
                    <a:pt x="37245" y="32563"/>
                  </a:cubicBezTo>
                  <a:close/>
                </a:path>
              </a:pathLst>
            </a:custGeom>
            <a:solidFill>
              <a:srgbClr val="78673F"/>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9" name="Frihåndsform: figur 8">
              <a:extLst>
                <a:ext uri="{FF2B5EF4-FFF2-40B4-BE49-F238E27FC236}">
                  <a16:creationId xmlns:a16="http://schemas.microsoft.com/office/drawing/2014/main" id="{CAEFE06B-E6AA-CB25-3945-BBCB967997C9}"/>
                </a:ext>
              </a:extLst>
            </p:cNvPr>
            <p:cNvSpPr/>
            <p:nvPr/>
          </p:nvSpPr>
          <p:spPr>
            <a:xfrm>
              <a:off x="5752073" y="3205325"/>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0" name="Frihåndsform: figur 9">
              <a:extLst>
                <a:ext uri="{FF2B5EF4-FFF2-40B4-BE49-F238E27FC236}">
                  <a16:creationId xmlns:a16="http://schemas.microsoft.com/office/drawing/2014/main" id="{55A53384-F73F-C72C-BB0D-47731F11C292}"/>
                </a:ext>
              </a:extLst>
            </p:cNvPr>
            <p:cNvSpPr/>
            <p:nvPr/>
          </p:nvSpPr>
          <p:spPr>
            <a:xfrm>
              <a:off x="5664943" y="3227771"/>
              <a:ext cx="132428" cy="132427"/>
            </a:xfrm>
            <a:custGeom>
              <a:avLst/>
              <a:gdLst>
                <a:gd name="connsiteX0" fmla="*/ 132428 w 132428"/>
                <a:gd name="connsiteY0" fmla="*/ 66214 h 132427"/>
                <a:gd name="connsiteX1" fmla="*/ 66214 w 132428"/>
                <a:gd name="connsiteY1" fmla="*/ 132427 h 132427"/>
                <a:gd name="connsiteX2" fmla="*/ 0 w 132428"/>
                <a:gd name="connsiteY2" fmla="*/ 66214 h 132427"/>
                <a:gd name="connsiteX3" fmla="*/ 66214 w 132428"/>
                <a:gd name="connsiteY3" fmla="*/ 0 h 132427"/>
                <a:gd name="connsiteX4" fmla="*/ 132428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8" y="66214"/>
                  </a:moveTo>
                  <a:cubicBezTo>
                    <a:pt x="132428" y="102782"/>
                    <a:pt x="102783" y="132427"/>
                    <a:pt x="66214" y="132427"/>
                  </a:cubicBezTo>
                  <a:cubicBezTo>
                    <a:pt x="29645" y="132427"/>
                    <a:pt x="0" y="102782"/>
                    <a:pt x="0" y="66214"/>
                  </a:cubicBezTo>
                  <a:cubicBezTo>
                    <a:pt x="0" y="29645"/>
                    <a:pt x="29645" y="0"/>
                    <a:pt x="66214" y="0"/>
                  </a:cubicBezTo>
                  <a:cubicBezTo>
                    <a:pt x="102784" y="0"/>
                    <a:pt x="132428" y="29645"/>
                    <a:pt x="132428"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1" name="Frihåndsform: figur 10">
              <a:extLst>
                <a:ext uri="{FF2B5EF4-FFF2-40B4-BE49-F238E27FC236}">
                  <a16:creationId xmlns:a16="http://schemas.microsoft.com/office/drawing/2014/main" id="{FEF60F13-F324-9AB5-8C46-859926C5508D}"/>
                </a:ext>
              </a:extLst>
            </p:cNvPr>
            <p:cNvSpPr/>
            <p:nvPr/>
          </p:nvSpPr>
          <p:spPr>
            <a:xfrm>
              <a:off x="5752073" y="3275518"/>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2" name="Frihåndsform: figur 11">
              <a:extLst>
                <a:ext uri="{FF2B5EF4-FFF2-40B4-BE49-F238E27FC236}">
                  <a16:creationId xmlns:a16="http://schemas.microsoft.com/office/drawing/2014/main" id="{FB02BEB7-D642-83E2-4756-6276D05B0737}"/>
                </a:ext>
              </a:extLst>
            </p:cNvPr>
            <p:cNvSpPr/>
            <p:nvPr/>
          </p:nvSpPr>
          <p:spPr>
            <a:xfrm>
              <a:off x="5684634" y="3314797"/>
              <a:ext cx="132428" cy="132427"/>
            </a:xfrm>
            <a:custGeom>
              <a:avLst/>
              <a:gdLst>
                <a:gd name="connsiteX0" fmla="*/ 132428 w 132428"/>
                <a:gd name="connsiteY0" fmla="*/ 66214 h 132427"/>
                <a:gd name="connsiteX1" fmla="*/ 66214 w 132428"/>
                <a:gd name="connsiteY1" fmla="*/ 132427 h 132427"/>
                <a:gd name="connsiteX2" fmla="*/ 0 w 132428"/>
                <a:gd name="connsiteY2" fmla="*/ 66214 h 132427"/>
                <a:gd name="connsiteX3" fmla="*/ 66214 w 132428"/>
                <a:gd name="connsiteY3" fmla="*/ 0 h 132427"/>
                <a:gd name="connsiteX4" fmla="*/ 132428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8" y="66214"/>
                  </a:moveTo>
                  <a:cubicBezTo>
                    <a:pt x="132428" y="102782"/>
                    <a:pt x="102783" y="132427"/>
                    <a:pt x="66214" y="132427"/>
                  </a:cubicBezTo>
                  <a:cubicBezTo>
                    <a:pt x="29645" y="132427"/>
                    <a:pt x="0" y="102782"/>
                    <a:pt x="0" y="66214"/>
                  </a:cubicBezTo>
                  <a:cubicBezTo>
                    <a:pt x="0" y="29645"/>
                    <a:pt x="29645" y="0"/>
                    <a:pt x="66214" y="0"/>
                  </a:cubicBezTo>
                  <a:cubicBezTo>
                    <a:pt x="102783" y="0"/>
                    <a:pt x="132428" y="29645"/>
                    <a:pt x="132428"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3" name="Frihåndsform: figur 12">
              <a:extLst>
                <a:ext uri="{FF2B5EF4-FFF2-40B4-BE49-F238E27FC236}">
                  <a16:creationId xmlns:a16="http://schemas.microsoft.com/office/drawing/2014/main" id="{EEA13B29-8876-EBE5-C0A3-FE5BB4D9C1F1}"/>
                </a:ext>
              </a:extLst>
            </p:cNvPr>
            <p:cNvSpPr/>
            <p:nvPr/>
          </p:nvSpPr>
          <p:spPr>
            <a:xfrm>
              <a:off x="5593016" y="3283374"/>
              <a:ext cx="132428" cy="132427"/>
            </a:xfrm>
            <a:custGeom>
              <a:avLst/>
              <a:gdLst>
                <a:gd name="connsiteX0" fmla="*/ 132429 w 132428"/>
                <a:gd name="connsiteY0" fmla="*/ 66213 h 132427"/>
                <a:gd name="connsiteX1" fmla="*/ 66214 w 132428"/>
                <a:gd name="connsiteY1" fmla="*/ 132427 h 132427"/>
                <a:gd name="connsiteX2" fmla="*/ 0 w 132428"/>
                <a:gd name="connsiteY2" fmla="*/ 66213 h 132427"/>
                <a:gd name="connsiteX3" fmla="*/ 66214 w 132428"/>
                <a:gd name="connsiteY3" fmla="*/ 0 h 132427"/>
                <a:gd name="connsiteX4" fmla="*/ 132429 w 132428"/>
                <a:gd name="connsiteY4" fmla="*/ 66213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3"/>
                  </a:moveTo>
                  <a:cubicBezTo>
                    <a:pt x="132429" y="102782"/>
                    <a:pt x="102783" y="132427"/>
                    <a:pt x="66214" y="132427"/>
                  </a:cubicBezTo>
                  <a:cubicBezTo>
                    <a:pt x="29645" y="132427"/>
                    <a:pt x="0" y="102782"/>
                    <a:pt x="0" y="66213"/>
                  </a:cubicBezTo>
                  <a:cubicBezTo>
                    <a:pt x="0" y="29645"/>
                    <a:pt x="29646" y="0"/>
                    <a:pt x="66214" y="0"/>
                  </a:cubicBezTo>
                  <a:cubicBezTo>
                    <a:pt x="102784" y="0"/>
                    <a:pt x="132429" y="29645"/>
                    <a:pt x="132429" y="6621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4" name="Frihåndsform: figur 13">
              <a:extLst>
                <a:ext uri="{FF2B5EF4-FFF2-40B4-BE49-F238E27FC236}">
                  <a16:creationId xmlns:a16="http://schemas.microsoft.com/office/drawing/2014/main" id="{DB6C7EA6-373F-40BC-ACEA-3DF8C844CB5B}"/>
                </a:ext>
              </a:extLst>
            </p:cNvPr>
            <p:cNvSpPr/>
            <p:nvPr/>
          </p:nvSpPr>
          <p:spPr>
            <a:xfrm>
              <a:off x="6101101" y="3729932"/>
              <a:ext cx="2272976" cy="1035681"/>
            </a:xfrm>
            <a:custGeom>
              <a:avLst/>
              <a:gdLst>
                <a:gd name="connsiteX0" fmla="*/ 650614 w 2272976"/>
                <a:gd name="connsiteY0" fmla="*/ 550317 h 1035681"/>
                <a:gd name="connsiteX1" fmla="*/ 1598427 w 2272976"/>
                <a:gd name="connsiteY1" fmla="*/ 130489 h 1035681"/>
                <a:gd name="connsiteX2" fmla="*/ 2049276 w 2272976"/>
                <a:gd name="connsiteY2" fmla="*/ 130489 h 1035681"/>
                <a:gd name="connsiteX3" fmla="*/ 2260163 w 2272976"/>
                <a:gd name="connsiteY3" fmla="*/ 447273 h 1035681"/>
                <a:gd name="connsiteX4" fmla="*/ 2080088 w 2272976"/>
                <a:gd name="connsiteY4" fmla="*/ 314642 h 1035681"/>
                <a:gd name="connsiteX5" fmla="*/ 2238839 w 2272976"/>
                <a:gd name="connsiteY5" fmla="*/ 631732 h 1035681"/>
                <a:gd name="connsiteX6" fmla="*/ 2075599 w 2272976"/>
                <a:gd name="connsiteY6" fmla="*/ 525117 h 1035681"/>
                <a:gd name="connsiteX7" fmla="*/ 2028973 w 2272976"/>
                <a:gd name="connsiteY7" fmla="*/ 478594 h 1035681"/>
                <a:gd name="connsiteX8" fmla="*/ 1787786 w 2272976"/>
                <a:gd name="connsiteY8" fmla="*/ 414931 h 1035681"/>
                <a:gd name="connsiteX9" fmla="*/ 1752281 w 2272976"/>
                <a:gd name="connsiteY9" fmla="*/ 510936 h 1035681"/>
                <a:gd name="connsiteX10" fmla="*/ 2015200 w 2272976"/>
                <a:gd name="connsiteY10" fmla="*/ 610409 h 1035681"/>
                <a:gd name="connsiteX11" fmla="*/ 2008466 w 2272976"/>
                <a:gd name="connsiteY11" fmla="*/ 724574 h 1035681"/>
                <a:gd name="connsiteX12" fmla="*/ 1465387 w 2272976"/>
                <a:gd name="connsiteY12" fmla="*/ 673562 h 1035681"/>
                <a:gd name="connsiteX13" fmla="*/ 614803 w 2272976"/>
                <a:gd name="connsiteY13" fmla="*/ 1032176 h 1035681"/>
                <a:gd name="connsiteX14" fmla="*/ 0 w 2272976"/>
                <a:gd name="connsiteY14" fmla="*/ 612144 h 1035681"/>
                <a:gd name="connsiteX15" fmla="*/ 14794 w 2272976"/>
                <a:gd name="connsiteY15" fmla="*/ 0 h 103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72976" h="1035681">
                  <a:moveTo>
                    <a:pt x="650614" y="550317"/>
                  </a:moveTo>
                  <a:lnTo>
                    <a:pt x="1598427" y="130489"/>
                  </a:lnTo>
                  <a:cubicBezTo>
                    <a:pt x="1666784" y="99065"/>
                    <a:pt x="1965718" y="52338"/>
                    <a:pt x="2049276" y="130489"/>
                  </a:cubicBezTo>
                  <a:cubicBezTo>
                    <a:pt x="2146914" y="221698"/>
                    <a:pt x="2321683" y="385548"/>
                    <a:pt x="2260163" y="447273"/>
                  </a:cubicBezTo>
                  <a:cubicBezTo>
                    <a:pt x="2198641" y="508997"/>
                    <a:pt x="2106512" y="352391"/>
                    <a:pt x="2080088" y="314642"/>
                  </a:cubicBezTo>
                  <a:cubicBezTo>
                    <a:pt x="2058969" y="284953"/>
                    <a:pt x="2316990" y="516751"/>
                    <a:pt x="2238839" y="631732"/>
                  </a:cubicBezTo>
                  <a:cubicBezTo>
                    <a:pt x="2174461" y="726512"/>
                    <a:pt x="2116409" y="566131"/>
                    <a:pt x="2075599" y="525117"/>
                  </a:cubicBezTo>
                  <a:cubicBezTo>
                    <a:pt x="2034789" y="484104"/>
                    <a:pt x="2028973" y="478594"/>
                    <a:pt x="2028973" y="478594"/>
                  </a:cubicBezTo>
                  <a:cubicBezTo>
                    <a:pt x="2028973" y="478594"/>
                    <a:pt x="1890321" y="384222"/>
                    <a:pt x="1787786" y="414931"/>
                  </a:cubicBezTo>
                  <a:cubicBezTo>
                    <a:pt x="1685251" y="445640"/>
                    <a:pt x="1714124" y="475125"/>
                    <a:pt x="1752281" y="510936"/>
                  </a:cubicBezTo>
                  <a:cubicBezTo>
                    <a:pt x="1809109" y="564192"/>
                    <a:pt x="1955005" y="584189"/>
                    <a:pt x="2015200" y="610409"/>
                  </a:cubicBezTo>
                  <a:cubicBezTo>
                    <a:pt x="2096820" y="645913"/>
                    <a:pt x="2175175" y="706312"/>
                    <a:pt x="2008466" y="724574"/>
                  </a:cubicBezTo>
                  <a:cubicBezTo>
                    <a:pt x="1773298" y="750386"/>
                    <a:pt x="1629851" y="712229"/>
                    <a:pt x="1465387" y="673562"/>
                  </a:cubicBezTo>
                  <a:cubicBezTo>
                    <a:pt x="1366014" y="650096"/>
                    <a:pt x="1039432" y="1078495"/>
                    <a:pt x="614803" y="1032176"/>
                  </a:cubicBezTo>
                  <a:cubicBezTo>
                    <a:pt x="82130" y="974227"/>
                    <a:pt x="0" y="612144"/>
                    <a:pt x="0" y="612144"/>
                  </a:cubicBezTo>
                  <a:lnTo>
                    <a:pt x="14794" y="0"/>
                  </a:lnTo>
                  <a:close/>
                </a:path>
              </a:pathLst>
            </a:custGeom>
            <a:solidFill>
              <a:srgbClr val="1E2B3C"/>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5" name="Frihåndsform: figur 14">
              <a:extLst>
                <a:ext uri="{FF2B5EF4-FFF2-40B4-BE49-F238E27FC236}">
                  <a16:creationId xmlns:a16="http://schemas.microsoft.com/office/drawing/2014/main" id="{6DD44110-3DE4-E27D-CEED-7351918B3D55}"/>
                </a:ext>
              </a:extLst>
            </p:cNvPr>
            <p:cNvSpPr/>
            <p:nvPr/>
          </p:nvSpPr>
          <p:spPr>
            <a:xfrm>
              <a:off x="3032390" y="4647535"/>
              <a:ext cx="3487218" cy="2186563"/>
            </a:xfrm>
            <a:custGeom>
              <a:avLst/>
              <a:gdLst>
                <a:gd name="connsiteX0" fmla="*/ 2989846 w 3487218"/>
                <a:gd name="connsiteY0" fmla="*/ 708454 h 2186563"/>
                <a:gd name="connsiteX1" fmla="*/ 1857367 w 3487218"/>
                <a:gd name="connsiteY1" fmla="*/ 1364570 h 2186563"/>
                <a:gd name="connsiteX2" fmla="*/ 1001478 w 3487218"/>
                <a:gd name="connsiteY2" fmla="*/ 0 h 2186563"/>
                <a:gd name="connsiteX3" fmla="*/ 0 w 3487218"/>
                <a:gd name="connsiteY3" fmla="*/ 481961 h 2186563"/>
                <a:gd name="connsiteX4" fmla="*/ 337703 w 3487218"/>
                <a:gd name="connsiteY4" fmla="*/ 649178 h 2186563"/>
                <a:gd name="connsiteX5" fmla="*/ 647859 w 3487218"/>
                <a:gd name="connsiteY5" fmla="*/ 694885 h 2186563"/>
                <a:gd name="connsiteX6" fmla="*/ 1825841 w 3487218"/>
                <a:gd name="connsiteY6" fmla="*/ 2179333 h 2186563"/>
                <a:gd name="connsiteX7" fmla="*/ 3487218 w 3487218"/>
                <a:gd name="connsiteY7" fmla="*/ 1332535 h 218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218" h="2186563">
                  <a:moveTo>
                    <a:pt x="2989846" y="708454"/>
                  </a:moveTo>
                  <a:lnTo>
                    <a:pt x="1857367" y="1364570"/>
                  </a:lnTo>
                  <a:lnTo>
                    <a:pt x="1001478" y="0"/>
                  </a:lnTo>
                  <a:lnTo>
                    <a:pt x="0" y="481961"/>
                  </a:lnTo>
                  <a:cubicBezTo>
                    <a:pt x="0" y="481961"/>
                    <a:pt x="141509" y="733348"/>
                    <a:pt x="337703" y="649178"/>
                  </a:cubicBezTo>
                  <a:cubicBezTo>
                    <a:pt x="533897" y="565008"/>
                    <a:pt x="589501" y="623468"/>
                    <a:pt x="647859" y="694885"/>
                  </a:cubicBezTo>
                  <a:cubicBezTo>
                    <a:pt x="702749" y="762118"/>
                    <a:pt x="1075039" y="2083125"/>
                    <a:pt x="1825841" y="2179333"/>
                  </a:cubicBezTo>
                  <a:cubicBezTo>
                    <a:pt x="2596743" y="2278092"/>
                    <a:pt x="3487218" y="1332535"/>
                    <a:pt x="3487218" y="1332535"/>
                  </a:cubicBezTo>
                  <a:close/>
                </a:path>
              </a:pathLst>
            </a:custGeom>
            <a:solidFill>
              <a:srgbClr val="1E2B3C"/>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6" name="Frihåndsform: figur 15">
              <a:extLst>
                <a:ext uri="{FF2B5EF4-FFF2-40B4-BE49-F238E27FC236}">
                  <a16:creationId xmlns:a16="http://schemas.microsoft.com/office/drawing/2014/main" id="{EC688057-75F6-55EE-ABFE-A520BD84A6CF}"/>
                </a:ext>
              </a:extLst>
            </p:cNvPr>
            <p:cNvSpPr/>
            <p:nvPr/>
          </p:nvSpPr>
          <p:spPr>
            <a:xfrm>
              <a:off x="5755373" y="2964871"/>
              <a:ext cx="486828" cy="511209"/>
            </a:xfrm>
            <a:custGeom>
              <a:avLst/>
              <a:gdLst>
                <a:gd name="connsiteX0" fmla="*/ 10269 w 486828"/>
                <a:gd name="connsiteY0" fmla="*/ 249840 h 511209"/>
                <a:gd name="connsiteX1" fmla="*/ 47100 w 486828"/>
                <a:gd name="connsiteY1" fmla="*/ 250963 h 511209"/>
                <a:gd name="connsiteX2" fmla="*/ 60609 w 486828"/>
                <a:gd name="connsiteY2" fmla="*/ 245882 h 511209"/>
                <a:gd name="connsiteX3" fmla="*/ 61384 w 486828"/>
                <a:gd name="connsiteY3" fmla="*/ 240046 h 511209"/>
                <a:gd name="connsiteX4" fmla="*/ 199016 w 486828"/>
                <a:gd name="connsiteY4" fmla="*/ 10288 h 511209"/>
                <a:gd name="connsiteX5" fmla="*/ 199016 w 486828"/>
                <a:gd name="connsiteY5" fmla="*/ 10288 h 511209"/>
                <a:gd name="connsiteX6" fmla="*/ 456639 w 486828"/>
                <a:gd name="connsiteY6" fmla="*/ 140287 h 511209"/>
                <a:gd name="connsiteX7" fmla="*/ 456935 w 486828"/>
                <a:gd name="connsiteY7" fmla="*/ 141185 h 511209"/>
                <a:gd name="connsiteX8" fmla="*/ 486829 w 486828"/>
                <a:gd name="connsiteY8" fmla="*/ 232496 h 511209"/>
                <a:gd name="connsiteX9" fmla="*/ 486829 w 486828"/>
                <a:gd name="connsiteY9" fmla="*/ 232496 h 511209"/>
                <a:gd name="connsiteX10" fmla="*/ 413371 w 486828"/>
                <a:gd name="connsiteY10" fmla="*/ 256574 h 511209"/>
                <a:gd name="connsiteX11" fmla="*/ 413371 w 486828"/>
                <a:gd name="connsiteY11" fmla="*/ 256574 h 511209"/>
                <a:gd name="connsiteX12" fmla="*/ 466627 w 486828"/>
                <a:gd name="connsiteY12" fmla="*/ 419302 h 511209"/>
                <a:gd name="connsiteX13" fmla="*/ 466627 w 486828"/>
                <a:gd name="connsiteY13" fmla="*/ 419302 h 511209"/>
                <a:gd name="connsiteX14" fmla="*/ 359705 w 486828"/>
                <a:gd name="connsiteY14" fmla="*/ 500921 h 511209"/>
                <a:gd name="connsiteX15" fmla="*/ 359705 w 486828"/>
                <a:gd name="connsiteY15" fmla="*/ 500921 h 511209"/>
                <a:gd name="connsiteX16" fmla="*/ 102082 w 486828"/>
                <a:gd name="connsiteY16" fmla="*/ 370912 h 511209"/>
                <a:gd name="connsiteX17" fmla="*/ 101888 w 486828"/>
                <a:gd name="connsiteY17" fmla="*/ 370330 h 511209"/>
                <a:gd name="connsiteX18" fmla="*/ 90665 w 486828"/>
                <a:gd name="connsiteY18" fmla="*/ 336765 h 511209"/>
                <a:gd name="connsiteX19" fmla="*/ 83421 w 486828"/>
                <a:gd name="connsiteY19" fmla="*/ 346457 h 511209"/>
                <a:gd name="connsiteX20" fmla="*/ 17615 w 486828"/>
                <a:gd name="connsiteY20" fmla="*/ 320339 h 511209"/>
                <a:gd name="connsiteX21" fmla="*/ 10269 w 486828"/>
                <a:gd name="connsiteY21" fmla="*/ 249840 h 5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6828" h="511209">
                  <a:moveTo>
                    <a:pt x="10269" y="249840"/>
                  </a:moveTo>
                  <a:cubicBezTo>
                    <a:pt x="21727" y="243046"/>
                    <a:pt x="36082" y="243484"/>
                    <a:pt x="47100" y="250963"/>
                  </a:cubicBezTo>
                  <a:cubicBezTo>
                    <a:pt x="52232" y="253289"/>
                    <a:pt x="58282" y="251014"/>
                    <a:pt x="60609" y="245882"/>
                  </a:cubicBezTo>
                  <a:cubicBezTo>
                    <a:pt x="61435" y="244056"/>
                    <a:pt x="61700" y="242025"/>
                    <a:pt x="61384" y="240046"/>
                  </a:cubicBezTo>
                  <a:cubicBezTo>
                    <a:pt x="43550" y="139858"/>
                    <a:pt x="102266" y="41834"/>
                    <a:pt x="199016" y="10288"/>
                  </a:cubicBezTo>
                  <a:lnTo>
                    <a:pt x="199016" y="10288"/>
                  </a:lnTo>
                  <a:cubicBezTo>
                    <a:pt x="306061" y="-24951"/>
                    <a:pt x="421400" y="33254"/>
                    <a:pt x="456639" y="140287"/>
                  </a:cubicBezTo>
                  <a:cubicBezTo>
                    <a:pt x="456741" y="140593"/>
                    <a:pt x="456843" y="140889"/>
                    <a:pt x="456935" y="141185"/>
                  </a:cubicBezTo>
                  <a:lnTo>
                    <a:pt x="486829" y="232496"/>
                  </a:lnTo>
                  <a:lnTo>
                    <a:pt x="486829" y="232496"/>
                  </a:lnTo>
                  <a:lnTo>
                    <a:pt x="413371" y="256574"/>
                  </a:lnTo>
                  <a:lnTo>
                    <a:pt x="413371" y="256574"/>
                  </a:lnTo>
                  <a:lnTo>
                    <a:pt x="466627" y="419302"/>
                  </a:lnTo>
                  <a:lnTo>
                    <a:pt x="466627" y="419302"/>
                  </a:lnTo>
                  <a:cubicBezTo>
                    <a:pt x="441305" y="457877"/>
                    <a:pt x="403587" y="486658"/>
                    <a:pt x="359705" y="500921"/>
                  </a:cubicBezTo>
                  <a:lnTo>
                    <a:pt x="359705" y="500921"/>
                  </a:lnTo>
                  <a:cubicBezTo>
                    <a:pt x="252660" y="536160"/>
                    <a:pt x="137321" y="477956"/>
                    <a:pt x="102082" y="370912"/>
                  </a:cubicBezTo>
                  <a:cubicBezTo>
                    <a:pt x="102010" y="370718"/>
                    <a:pt x="101949" y="370524"/>
                    <a:pt x="101888" y="370330"/>
                  </a:cubicBezTo>
                  <a:lnTo>
                    <a:pt x="90665" y="336765"/>
                  </a:lnTo>
                  <a:cubicBezTo>
                    <a:pt x="89094" y="340550"/>
                    <a:pt x="86604" y="343876"/>
                    <a:pt x="83421" y="346457"/>
                  </a:cubicBezTo>
                  <a:cubicBezTo>
                    <a:pt x="67403" y="358700"/>
                    <a:pt x="37918" y="346967"/>
                    <a:pt x="17615" y="320339"/>
                  </a:cubicBezTo>
                  <a:cubicBezTo>
                    <a:pt x="-2688" y="293711"/>
                    <a:pt x="-5851" y="262083"/>
                    <a:pt x="10269" y="249840"/>
                  </a:cubicBezTo>
                  <a:close/>
                </a:path>
              </a:pathLst>
            </a:custGeom>
            <a:solidFill>
              <a:srgbClr val="1E2B3C"/>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7" name="Frihåndsform: figur 16">
              <a:extLst>
                <a:ext uri="{FF2B5EF4-FFF2-40B4-BE49-F238E27FC236}">
                  <a16:creationId xmlns:a16="http://schemas.microsoft.com/office/drawing/2014/main" id="{2A5FA36E-2BFE-0B28-CA83-D1D9071F1B09}"/>
                </a:ext>
              </a:extLst>
            </p:cNvPr>
            <p:cNvSpPr/>
            <p:nvPr/>
          </p:nvSpPr>
          <p:spPr>
            <a:xfrm>
              <a:off x="6112528" y="3275008"/>
              <a:ext cx="80191" cy="31732"/>
            </a:xfrm>
            <a:custGeom>
              <a:avLst/>
              <a:gdLst>
                <a:gd name="connsiteX0" fmla="*/ 0 w 80191"/>
                <a:gd name="connsiteY0" fmla="*/ 7856 h 31732"/>
                <a:gd name="connsiteX1" fmla="*/ 13977 w 80191"/>
                <a:gd name="connsiteY1" fmla="*/ 0 h 31732"/>
                <a:gd name="connsiteX2" fmla="*/ 22548 w 80191"/>
                <a:gd name="connsiteY2" fmla="*/ 2959 h 31732"/>
                <a:gd name="connsiteX3" fmla="*/ 58460 w 80191"/>
                <a:gd name="connsiteY3" fmla="*/ 5509 h 31732"/>
                <a:gd name="connsiteX4" fmla="*/ 67438 w 80191"/>
                <a:gd name="connsiteY4" fmla="*/ 3979 h 31732"/>
                <a:gd name="connsiteX5" fmla="*/ 80192 w 80191"/>
                <a:gd name="connsiteY5" fmla="*/ 13569 h 31732"/>
                <a:gd name="connsiteX6" fmla="*/ 73050 w 80191"/>
                <a:gd name="connsiteY6" fmla="*/ 28771 h 31732"/>
                <a:gd name="connsiteX7" fmla="*/ 61725 w 80191"/>
                <a:gd name="connsiteY7" fmla="*/ 30811 h 31732"/>
                <a:gd name="connsiteX8" fmla="*/ 38566 w 80191"/>
                <a:gd name="connsiteY8" fmla="*/ 31424 h 31732"/>
                <a:gd name="connsiteX9" fmla="*/ 15814 w 80191"/>
                <a:gd name="connsiteY9" fmla="*/ 27547 h 31732"/>
                <a:gd name="connsiteX10" fmla="*/ 4796 w 80191"/>
                <a:gd name="connsiteY10" fmla="*/ 23976 h 31732"/>
                <a:gd name="connsiteX11" fmla="*/ 0 w 80191"/>
                <a:gd name="connsiteY11" fmla="*/ 7856 h 3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191" h="31732">
                  <a:moveTo>
                    <a:pt x="0" y="7856"/>
                  </a:moveTo>
                  <a:cubicBezTo>
                    <a:pt x="5408" y="4591"/>
                    <a:pt x="10203" y="2448"/>
                    <a:pt x="13977" y="0"/>
                  </a:cubicBezTo>
                  <a:cubicBezTo>
                    <a:pt x="16763" y="1183"/>
                    <a:pt x="19630" y="2173"/>
                    <a:pt x="22548" y="2959"/>
                  </a:cubicBezTo>
                  <a:cubicBezTo>
                    <a:pt x="34229" y="6173"/>
                    <a:pt x="46442" y="7040"/>
                    <a:pt x="58460" y="5509"/>
                  </a:cubicBezTo>
                  <a:cubicBezTo>
                    <a:pt x="61521" y="5509"/>
                    <a:pt x="64480" y="4591"/>
                    <a:pt x="67438" y="3979"/>
                  </a:cubicBezTo>
                  <a:lnTo>
                    <a:pt x="80192" y="13569"/>
                  </a:lnTo>
                  <a:cubicBezTo>
                    <a:pt x="78620" y="18977"/>
                    <a:pt x="76213" y="24108"/>
                    <a:pt x="73050" y="28771"/>
                  </a:cubicBezTo>
                  <a:cubicBezTo>
                    <a:pt x="69275" y="29587"/>
                    <a:pt x="65500" y="30301"/>
                    <a:pt x="61725" y="30811"/>
                  </a:cubicBezTo>
                  <a:cubicBezTo>
                    <a:pt x="54043" y="31780"/>
                    <a:pt x="46289" y="31985"/>
                    <a:pt x="38566" y="31424"/>
                  </a:cubicBezTo>
                  <a:cubicBezTo>
                    <a:pt x="30873" y="30893"/>
                    <a:pt x="23251" y="29597"/>
                    <a:pt x="15814" y="27547"/>
                  </a:cubicBezTo>
                  <a:cubicBezTo>
                    <a:pt x="12039" y="26526"/>
                    <a:pt x="8468" y="25200"/>
                    <a:pt x="4796" y="23976"/>
                  </a:cubicBezTo>
                  <a:cubicBezTo>
                    <a:pt x="2316" y="18905"/>
                    <a:pt x="694" y="13457"/>
                    <a:pt x="0" y="7856"/>
                  </a:cubicBezTo>
                  <a:close/>
                </a:path>
              </a:pathLst>
            </a:custGeom>
            <a:solidFill>
              <a:srgbClr val="EDCFC5"/>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8" name="Frihåndsform: figur 17">
              <a:extLst>
                <a:ext uri="{FF2B5EF4-FFF2-40B4-BE49-F238E27FC236}">
                  <a16:creationId xmlns:a16="http://schemas.microsoft.com/office/drawing/2014/main" id="{1C71381E-0004-36A1-221C-15C20E7B25E8}"/>
                </a:ext>
              </a:extLst>
            </p:cNvPr>
            <p:cNvSpPr/>
            <p:nvPr/>
          </p:nvSpPr>
          <p:spPr>
            <a:xfrm>
              <a:off x="4450431" y="3550608"/>
              <a:ext cx="1834110" cy="1825436"/>
            </a:xfrm>
            <a:custGeom>
              <a:avLst/>
              <a:gdLst>
                <a:gd name="connsiteX0" fmla="*/ 1402851 w 1834110"/>
                <a:gd name="connsiteY0" fmla="*/ 578 h 1825436"/>
                <a:gd name="connsiteX1" fmla="*/ 293736 w 1834110"/>
                <a:gd name="connsiteY1" fmla="*/ 399186 h 1825436"/>
                <a:gd name="connsiteX2" fmla="*/ 155186 w 1834110"/>
                <a:gd name="connsiteY2" fmla="*/ 1129065 h 1825436"/>
                <a:gd name="connsiteX3" fmla="*/ 848141 w 1834110"/>
                <a:gd name="connsiteY3" fmla="*/ 1310259 h 1825436"/>
                <a:gd name="connsiteX4" fmla="*/ 1087798 w 1834110"/>
                <a:gd name="connsiteY4" fmla="*/ 1436463 h 1825436"/>
                <a:gd name="connsiteX5" fmla="*/ 1036173 w 1834110"/>
                <a:gd name="connsiteY5" fmla="*/ 1626534 h 1825436"/>
                <a:gd name="connsiteX6" fmla="*/ 1203188 w 1834110"/>
                <a:gd name="connsiteY6" fmla="*/ 1626534 h 1825436"/>
                <a:gd name="connsiteX7" fmla="*/ 1296031 w 1834110"/>
                <a:gd name="connsiteY7" fmla="*/ 1422486 h 1825436"/>
                <a:gd name="connsiteX8" fmla="*/ 1347859 w 1834110"/>
                <a:gd name="connsiteY8" fmla="*/ 1497983 h 1825436"/>
                <a:gd name="connsiteX9" fmla="*/ 1336738 w 1834110"/>
                <a:gd name="connsiteY9" fmla="*/ 1825174 h 1825436"/>
                <a:gd name="connsiteX10" fmla="*/ 1537218 w 1834110"/>
                <a:gd name="connsiteY10" fmla="*/ 1404019 h 1825436"/>
                <a:gd name="connsiteX11" fmla="*/ 1633122 w 1834110"/>
                <a:gd name="connsiteY11" fmla="*/ 1402897 h 1825436"/>
                <a:gd name="connsiteX12" fmla="*/ 1708620 w 1834110"/>
                <a:gd name="connsiteY12" fmla="*/ 1707643 h 1825436"/>
                <a:gd name="connsiteX13" fmla="*/ 1834111 w 1834110"/>
                <a:gd name="connsiteY13" fmla="*/ 1459623 h 1825436"/>
                <a:gd name="connsiteX14" fmla="*/ 1574355 w 1834110"/>
                <a:gd name="connsiteY14" fmla="*/ 1084174 h 1825436"/>
                <a:gd name="connsiteX15" fmla="*/ 576447 w 1834110"/>
                <a:gd name="connsiteY15" fmla="*/ 846765 h 1825436"/>
                <a:gd name="connsiteX16" fmla="*/ 1199821 w 1834110"/>
                <a:gd name="connsiteY16" fmla="*/ 607009 h 182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4110" h="1825436">
                  <a:moveTo>
                    <a:pt x="1402851" y="578"/>
                  </a:moveTo>
                  <a:cubicBezTo>
                    <a:pt x="1402851" y="578"/>
                    <a:pt x="816207" y="-32375"/>
                    <a:pt x="293736" y="399186"/>
                  </a:cubicBezTo>
                  <a:cubicBezTo>
                    <a:pt x="-50701" y="683934"/>
                    <a:pt x="-86001" y="962052"/>
                    <a:pt x="155186" y="1129065"/>
                  </a:cubicBezTo>
                  <a:cubicBezTo>
                    <a:pt x="396373" y="1296078"/>
                    <a:pt x="848141" y="1310259"/>
                    <a:pt x="848141" y="1310259"/>
                  </a:cubicBezTo>
                  <a:lnTo>
                    <a:pt x="1087798" y="1436463"/>
                  </a:lnTo>
                  <a:lnTo>
                    <a:pt x="1036173" y="1626534"/>
                  </a:lnTo>
                  <a:cubicBezTo>
                    <a:pt x="993016" y="1750391"/>
                    <a:pt x="1119221" y="1781916"/>
                    <a:pt x="1203188" y="1626534"/>
                  </a:cubicBezTo>
                  <a:cubicBezTo>
                    <a:pt x="1247364" y="1544914"/>
                    <a:pt x="1296031" y="1422486"/>
                    <a:pt x="1296031" y="1422486"/>
                  </a:cubicBezTo>
                  <a:cubicBezTo>
                    <a:pt x="1325393" y="1436769"/>
                    <a:pt x="1345084" y="1465448"/>
                    <a:pt x="1347859" y="1497983"/>
                  </a:cubicBezTo>
                  <a:cubicBezTo>
                    <a:pt x="1358980" y="1587866"/>
                    <a:pt x="1227674" y="1814258"/>
                    <a:pt x="1336738" y="1825174"/>
                  </a:cubicBezTo>
                  <a:cubicBezTo>
                    <a:pt x="1447946" y="1836499"/>
                    <a:pt x="1555787" y="1478293"/>
                    <a:pt x="1537218" y="1404019"/>
                  </a:cubicBezTo>
                  <a:cubicBezTo>
                    <a:pt x="1527933" y="1366883"/>
                    <a:pt x="1556603" y="1372800"/>
                    <a:pt x="1633122" y="1402897"/>
                  </a:cubicBezTo>
                  <a:cubicBezTo>
                    <a:pt x="1668524" y="1416875"/>
                    <a:pt x="1543646" y="1682545"/>
                    <a:pt x="1708620" y="1707643"/>
                  </a:cubicBezTo>
                  <a:cubicBezTo>
                    <a:pt x="1742697" y="1712846"/>
                    <a:pt x="1834111" y="1474620"/>
                    <a:pt x="1834111" y="1459623"/>
                  </a:cubicBezTo>
                  <a:cubicBezTo>
                    <a:pt x="1834111" y="1404019"/>
                    <a:pt x="1759939" y="1121209"/>
                    <a:pt x="1574355" y="1084174"/>
                  </a:cubicBezTo>
                  <a:cubicBezTo>
                    <a:pt x="1388772" y="1047140"/>
                    <a:pt x="576447" y="846765"/>
                    <a:pt x="576447" y="846765"/>
                  </a:cubicBezTo>
                  <a:lnTo>
                    <a:pt x="1199821" y="607009"/>
                  </a:lnTo>
                </a:path>
              </a:pathLst>
            </a:custGeom>
            <a:solidFill>
              <a:srgbClr val="1E2B3C"/>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19" name="Frihåndsform: figur 18">
              <a:extLst>
                <a:ext uri="{FF2B5EF4-FFF2-40B4-BE49-F238E27FC236}">
                  <a16:creationId xmlns:a16="http://schemas.microsoft.com/office/drawing/2014/main" id="{3B0EE7D2-292E-5003-A46A-492C4E26C254}"/>
                </a:ext>
              </a:extLst>
            </p:cNvPr>
            <p:cNvSpPr/>
            <p:nvPr/>
          </p:nvSpPr>
          <p:spPr>
            <a:xfrm>
              <a:off x="5433256" y="3548977"/>
              <a:ext cx="3967438" cy="3468676"/>
            </a:xfrm>
            <a:custGeom>
              <a:avLst/>
              <a:gdLst>
                <a:gd name="connsiteX0" fmla="*/ 3967439 w 3967438"/>
                <a:gd name="connsiteY0" fmla="*/ 2986613 h 3468676"/>
                <a:gd name="connsiteX1" fmla="*/ 3629736 w 3967438"/>
                <a:gd name="connsiteY1" fmla="*/ 2819498 h 3468676"/>
                <a:gd name="connsiteX2" fmla="*/ 3319579 w 3967438"/>
                <a:gd name="connsiteY2" fmla="*/ 2773689 h 3468676"/>
                <a:gd name="connsiteX3" fmla="*/ 2180163 w 3967438"/>
                <a:gd name="connsiteY3" fmla="*/ 1386164 h 3468676"/>
                <a:gd name="connsiteX4" fmla="*/ 1068089 w 3967438"/>
                <a:gd name="connsiteY4" fmla="*/ 1722129 h 3468676"/>
                <a:gd name="connsiteX5" fmla="*/ 615302 w 3967438"/>
                <a:gd name="connsiteY5" fmla="*/ 44549 h 3468676"/>
                <a:gd name="connsiteX6" fmla="*/ 665805 w 3967438"/>
                <a:gd name="connsiteY6" fmla="*/ 2648404 h 3468676"/>
                <a:gd name="connsiteX7" fmla="*/ 2152106 w 3967438"/>
                <a:gd name="connsiteY7" fmla="*/ 2173993 h 3468676"/>
                <a:gd name="connsiteX8" fmla="*/ 2965961 w 3967438"/>
                <a:gd name="connsiteY8" fmla="*/ 3468676 h 346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7438" h="3468676">
                  <a:moveTo>
                    <a:pt x="3967439" y="2986613"/>
                  </a:moveTo>
                  <a:cubicBezTo>
                    <a:pt x="3967439" y="2986613"/>
                    <a:pt x="3825930" y="2735328"/>
                    <a:pt x="3629736" y="2819498"/>
                  </a:cubicBezTo>
                  <a:cubicBezTo>
                    <a:pt x="3433542" y="2903668"/>
                    <a:pt x="3372837" y="2848982"/>
                    <a:pt x="3319579" y="2773689"/>
                  </a:cubicBezTo>
                  <a:cubicBezTo>
                    <a:pt x="3158074" y="2545156"/>
                    <a:pt x="2827513" y="1432891"/>
                    <a:pt x="2180163" y="1386164"/>
                  </a:cubicBezTo>
                  <a:cubicBezTo>
                    <a:pt x="1400895" y="1330561"/>
                    <a:pt x="1295402" y="1835783"/>
                    <a:pt x="1068089" y="1722129"/>
                  </a:cubicBezTo>
                  <a:cubicBezTo>
                    <a:pt x="454409" y="1415241"/>
                    <a:pt x="1001263" y="206767"/>
                    <a:pt x="615302" y="44549"/>
                  </a:cubicBezTo>
                  <a:cubicBezTo>
                    <a:pt x="-396277" y="-380585"/>
                    <a:pt x="-2154" y="2370082"/>
                    <a:pt x="665805" y="2648404"/>
                  </a:cubicBezTo>
                  <a:cubicBezTo>
                    <a:pt x="1333763" y="2926725"/>
                    <a:pt x="2152106" y="2173993"/>
                    <a:pt x="2152106" y="2173993"/>
                  </a:cubicBezTo>
                  <a:lnTo>
                    <a:pt x="2965961" y="3468676"/>
                  </a:lnTo>
                  <a:close/>
                </a:path>
              </a:pathLst>
            </a:custGeom>
            <a:solidFill>
              <a:srgbClr val="1E2B3C"/>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0" name="Frihåndsform: figur 19">
              <a:extLst>
                <a:ext uri="{FF2B5EF4-FFF2-40B4-BE49-F238E27FC236}">
                  <a16:creationId xmlns:a16="http://schemas.microsoft.com/office/drawing/2014/main" id="{8E7277F1-93A1-21D1-0496-DAFE47825A81}"/>
                </a:ext>
              </a:extLst>
            </p:cNvPr>
            <p:cNvSpPr/>
            <p:nvPr/>
          </p:nvSpPr>
          <p:spPr>
            <a:xfrm>
              <a:off x="5393466" y="3548885"/>
              <a:ext cx="1091453" cy="2648903"/>
            </a:xfrm>
            <a:custGeom>
              <a:avLst/>
              <a:gdLst>
                <a:gd name="connsiteX0" fmla="*/ 1091454 w 1091453"/>
                <a:gd name="connsiteY0" fmla="*/ 1782619 h 2648903"/>
                <a:gd name="connsiteX1" fmla="*/ 654990 w 1091453"/>
                <a:gd name="connsiteY1" fmla="*/ 45050 h 2648903"/>
                <a:gd name="connsiteX2" fmla="*/ 705492 w 1091453"/>
                <a:gd name="connsiteY2" fmla="*/ 2648904 h 2648903"/>
              </a:gdLst>
              <a:ahLst/>
              <a:cxnLst>
                <a:cxn ang="0">
                  <a:pos x="connsiteX0" y="connsiteY0"/>
                </a:cxn>
                <a:cxn ang="0">
                  <a:pos x="connsiteX1" y="connsiteY1"/>
                </a:cxn>
                <a:cxn ang="0">
                  <a:pos x="connsiteX2" y="connsiteY2"/>
                </a:cxn>
              </a:cxnLst>
              <a:rect l="l" t="t" r="r" b="b"/>
              <a:pathLst>
                <a:path w="1091453" h="2648903">
                  <a:moveTo>
                    <a:pt x="1091454" y="1782619"/>
                  </a:moveTo>
                  <a:cubicBezTo>
                    <a:pt x="477671" y="1475731"/>
                    <a:pt x="1040441" y="207268"/>
                    <a:pt x="654990" y="45050"/>
                  </a:cubicBezTo>
                  <a:cubicBezTo>
                    <a:pt x="-356589" y="-380084"/>
                    <a:pt x="-82447" y="2335792"/>
                    <a:pt x="705492" y="2648904"/>
                  </a:cubicBezTo>
                </a:path>
              </a:pathLst>
            </a:custGeom>
            <a:solidFill>
              <a:srgbClr val="1E2B3C"/>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1" name="Frihåndsform: figur 20">
              <a:extLst>
                <a:ext uri="{FF2B5EF4-FFF2-40B4-BE49-F238E27FC236}">
                  <a16:creationId xmlns:a16="http://schemas.microsoft.com/office/drawing/2014/main" id="{E520752E-0A28-BA2A-9B86-3F8197B878DD}"/>
                </a:ext>
              </a:extLst>
            </p:cNvPr>
            <p:cNvSpPr/>
            <p:nvPr/>
          </p:nvSpPr>
          <p:spPr>
            <a:xfrm>
              <a:off x="5581895" y="5536266"/>
              <a:ext cx="2002242" cy="736554"/>
            </a:xfrm>
            <a:custGeom>
              <a:avLst/>
              <a:gdLst>
                <a:gd name="connsiteX0" fmla="*/ 0 w 2002242"/>
                <a:gd name="connsiteY0" fmla="*/ 0 h 736554"/>
                <a:gd name="connsiteX1" fmla="*/ 71418 w 2002242"/>
                <a:gd name="connsiteY1" fmla="*/ 138140 h 736554"/>
                <a:gd name="connsiteX2" fmla="*/ 151303 w 2002242"/>
                <a:gd name="connsiteY2" fmla="*/ 270771 h 736554"/>
                <a:gd name="connsiteX3" fmla="*/ 237311 w 2002242"/>
                <a:gd name="connsiteY3" fmla="*/ 398811 h 736554"/>
                <a:gd name="connsiteX4" fmla="*/ 336989 w 2002242"/>
                <a:gd name="connsiteY4" fmla="*/ 515731 h 736554"/>
                <a:gd name="connsiteX5" fmla="*/ 454012 w 2002242"/>
                <a:gd name="connsiteY5" fmla="*/ 613470 h 736554"/>
                <a:gd name="connsiteX6" fmla="*/ 486558 w 2002242"/>
                <a:gd name="connsiteY6" fmla="*/ 632752 h 736554"/>
                <a:gd name="connsiteX7" fmla="*/ 520532 w 2002242"/>
                <a:gd name="connsiteY7" fmla="*/ 649076 h 736554"/>
                <a:gd name="connsiteX8" fmla="*/ 556343 w 2002242"/>
                <a:gd name="connsiteY8" fmla="*/ 662339 h 736554"/>
                <a:gd name="connsiteX9" fmla="*/ 574300 w 2002242"/>
                <a:gd name="connsiteY9" fmla="*/ 668971 h 736554"/>
                <a:gd name="connsiteX10" fmla="*/ 592460 w 2002242"/>
                <a:gd name="connsiteY10" fmla="*/ 674888 h 736554"/>
                <a:gd name="connsiteX11" fmla="*/ 895372 w 2002242"/>
                <a:gd name="connsiteY11" fmla="*/ 709678 h 736554"/>
                <a:gd name="connsiteX12" fmla="*/ 1197061 w 2002242"/>
                <a:gd name="connsiteY12" fmla="*/ 652239 h 736554"/>
                <a:gd name="connsiteX13" fmla="*/ 1482119 w 2002242"/>
                <a:gd name="connsiteY13" fmla="*/ 534299 h 736554"/>
                <a:gd name="connsiteX14" fmla="*/ 1748201 w 2002242"/>
                <a:gd name="connsiteY14" fmla="*/ 376774 h 736554"/>
                <a:gd name="connsiteX15" fmla="*/ 2002243 w 2002242"/>
                <a:gd name="connsiteY15" fmla="*/ 198437 h 736554"/>
                <a:gd name="connsiteX16" fmla="*/ 1885730 w 2002242"/>
                <a:gd name="connsiteY16" fmla="*/ 301888 h 736554"/>
                <a:gd name="connsiteX17" fmla="*/ 1762484 w 2002242"/>
                <a:gd name="connsiteY17" fmla="*/ 397893 h 736554"/>
                <a:gd name="connsiteX18" fmla="*/ 1493750 w 2002242"/>
                <a:gd name="connsiteY18" fmla="*/ 557050 h 736554"/>
                <a:gd name="connsiteX19" fmla="*/ 1204611 w 2002242"/>
                <a:gd name="connsiteY19" fmla="*/ 676521 h 736554"/>
                <a:gd name="connsiteX20" fmla="*/ 896699 w 2002242"/>
                <a:gd name="connsiteY20" fmla="*/ 734980 h 736554"/>
                <a:gd name="connsiteX21" fmla="*/ 584808 w 2002242"/>
                <a:gd name="connsiteY21" fmla="*/ 699170 h 736554"/>
                <a:gd name="connsiteX22" fmla="*/ 566036 w 2002242"/>
                <a:gd name="connsiteY22" fmla="*/ 693048 h 736554"/>
                <a:gd name="connsiteX23" fmla="*/ 547569 w 2002242"/>
                <a:gd name="connsiteY23" fmla="*/ 686213 h 736554"/>
                <a:gd name="connsiteX24" fmla="*/ 510534 w 2002242"/>
                <a:gd name="connsiteY24" fmla="*/ 672439 h 736554"/>
                <a:gd name="connsiteX25" fmla="*/ 474315 w 2002242"/>
                <a:gd name="connsiteY25" fmla="*/ 655095 h 736554"/>
                <a:gd name="connsiteX26" fmla="*/ 440034 w 2002242"/>
                <a:gd name="connsiteY26" fmla="*/ 634690 h 736554"/>
                <a:gd name="connsiteX27" fmla="*/ 318726 w 2002242"/>
                <a:gd name="connsiteY27" fmla="*/ 533483 h 736554"/>
                <a:gd name="connsiteX28" fmla="*/ 216701 w 2002242"/>
                <a:gd name="connsiteY28" fmla="*/ 413911 h 736554"/>
                <a:gd name="connsiteX29" fmla="*/ 193542 w 2002242"/>
                <a:gd name="connsiteY29" fmla="*/ 382283 h 736554"/>
                <a:gd name="connsiteX30" fmla="*/ 171402 w 2002242"/>
                <a:gd name="connsiteY30" fmla="*/ 349840 h 736554"/>
                <a:gd name="connsiteX31" fmla="*/ 149977 w 2002242"/>
                <a:gd name="connsiteY31" fmla="*/ 317091 h 736554"/>
                <a:gd name="connsiteX32" fmla="*/ 129572 w 2002242"/>
                <a:gd name="connsiteY32" fmla="*/ 283933 h 736554"/>
                <a:gd name="connsiteX33" fmla="*/ 59583 w 2002242"/>
                <a:gd name="connsiteY33" fmla="*/ 144058 h 736554"/>
                <a:gd name="connsiteX34" fmla="*/ 28975 w 2002242"/>
                <a:gd name="connsiteY34" fmla="*/ 72641 h 736554"/>
                <a:gd name="connsiteX35" fmla="*/ 0 w 2002242"/>
                <a:gd name="connsiteY35" fmla="*/ 0 h 73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2242" h="736554">
                  <a:moveTo>
                    <a:pt x="0" y="0"/>
                  </a:moveTo>
                  <a:cubicBezTo>
                    <a:pt x="22854" y="46625"/>
                    <a:pt x="46013" y="92944"/>
                    <a:pt x="71418" y="138140"/>
                  </a:cubicBezTo>
                  <a:cubicBezTo>
                    <a:pt x="96822" y="183337"/>
                    <a:pt x="123552" y="227411"/>
                    <a:pt x="151303" y="270771"/>
                  </a:cubicBezTo>
                  <a:cubicBezTo>
                    <a:pt x="179054" y="314131"/>
                    <a:pt x="205989" y="358104"/>
                    <a:pt x="237311" y="398811"/>
                  </a:cubicBezTo>
                  <a:cubicBezTo>
                    <a:pt x="267745" y="440080"/>
                    <a:pt x="301056" y="479145"/>
                    <a:pt x="336989" y="515731"/>
                  </a:cubicBezTo>
                  <a:cubicBezTo>
                    <a:pt x="372433" y="552347"/>
                    <a:pt x="411661" y="585107"/>
                    <a:pt x="454012" y="613470"/>
                  </a:cubicBezTo>
                  <a:lnTo>
                    <a:pt x="486558" y="632752"/>
                  </a:lnTo>
                  <a:lnTo>
                    <a:pt x="520532" y="649076"/>
                  </a:lnTo>
                  <a:cubicBezTo>
                    <a:pt x="532265" y="653667"/>
                    <a:pt x="544406" y="657850"/>
                    <a:pt x="556343" y="662339"/>
                  </a:cubicBezTo>
                  <a:lnTo>
                    <a:pt x="574300" y="668971"/>
                  </a:lnTo>
                  <a:cubicBezTo>
                    <a:pt x="580227" y="671307"/>
                    <a:pt x="586298" y="673286"/>
                    <a:pt x="592460" y="674888"/>
                  </a:cubicBezTo>
                  <a:cubicBezTo>
                    <a:pt x="690670" y="703873"/>
                    <a:pt x="793154" y="715636"/>
                    <a:pt x="895372" y="709678"/>
                  </a:cubicBezTo>
                  <a:cubicBezTo>
                    <a:pt x="997908" y="702955"/>
                    <a:pt x="1099229" y="683662"/>
                    <a:pt x="1197061" y="652239"/>
                  </a:cubicBezTo>
                  <a:cubicBezTo>
                    <a:pt x="1295250" y="621060"/>
                    <a:pt x="1390602" y="581597"/>
                    <a:pt x="1482119" y="534299"/>
                  </a:cubicBezTo>
                  <a:cubicBezTo>
                    <a:pt x="1573982" y="487327"/>
                    <a:pt x="1662846" y="434724"/>
                    <a:pt x="1748201" y="376774"/>
                  </a:cubicBezTo>
                  <a:cubicBezTo>
                    <a:pt x="1836197" y="322202"/>
                    <a:pt x="1921021" y="262661"/>
                    <a:pt x="2002243" y="198437"/>
                  </a:cubicBezTo>
                  <a:cubicBezTo>
                    <a:pt x="1965105" y="234757"/>
                    <a:pt x="1925928" y="268935"/>
                    <a:pt x="1885730" y="301888"/>
                  </a:cubicBezTo>
                  <a:cubicBezTo>
                    <a:pt x="1845532" y="334843"/>
                    <a:pt x="1804110" y="366980"/>
                    <a:pt x="1762484" y="397893"/>
                  </a:cubicBezTo>
                  <a:cubicBezTo>
                    <a:pt x="1676272" y="456424"/>
                    <a:pt x="1586521" y="509578"/>
                    <a:pt x="1493750" y="557050"/>
                  </a:cubicBezTo>
                  <a:cubicBezTo>
                    <a:pt x="1400927" y="605002"/>
                    <a:pt x="1304197" y="644964"/>
                    <a:pt x="1204611" y="676521"/>
                  </a:cubicBezTo>
                  <a:cubicBezTo>
                    <a:pt x="1104769" y="708617"/>
                    <a:pt x="1001356" y="728257"/>
                    <a:pt x="896699" y="734980"/>
                  </a:cubicBezTo>
                  <a:cubicBezTo>
                    <a:pt x="791450" y="741173"/>
                    <a:pt x="685915" y="729063"/>
                    <a:pt x="584808" y="699170"/>
                  </a:cubicBezTo>
                  <a:cubicBezTo>
                    <a:pt x="578442" y="697466"/>
                    <a:pt x="572178" y="695425"/>
                    <a:pt x="566036" y="693048"/>
                  </a:cubicBezTo>
                  <a:lnTo>
                    <a:pt x="547569" y="686213"/>
                  </a:lnTo>
                  <a:cubicBezTo>
                    <a:pt x="535224" y="681622"/>
                    <a:pt x="522777" y="677337"/>
                    <a:pt x="510534" y="672439"/>
                  </a:cubicBezTo>
                  <a:cubicBezTo>
                    <a:pt x="498291" y="667542"/>
                    <a:pt x="486252" y="661013"/>
                    <a:pt x="474315" y="655095"/>
                  </a:cubicBezTo>
                  <a:lnTo>
                    <a:pt x="440034" y="634690"/>
                  </a:lnTo>
                  <a:cubicBezTo>
                    <a:pt x="396154" y="605308"/>
                    <a:pt x="355496" y="571385"/>
                    <a:pt x="318726" y="533483"/>
                  </a:cubicBezTo>
                  <a:cubicBezTo>
                    <a:pt x="281946" y="496081"/>
                    <a:pt x="247850" y="456118"/>
                    <a:pt x="216701" y="413911"/>
                  </a:cubicBezTo>
                  <a:lnTo>
                    <a:pt x="193542" y="382283"/>
                  </a:lnTo>
                  <a:lnTo>
                    <a:pt x="171402" y="349840"/>
                  </a:lnTo>
                  <a:cubicBezTo>
                    <a:pt x="163954" y="339637"/>
                    <a:pt x="157017" y="328109"/>
                    <a:pt x="149977" y="317091"/>
                  </a:cubicBezTo>
                  <a:cubicBezTo>
                    <a:pt x="142937" y="306072"/>
                    <a:pt x="135592" y="295257"/>
                    <a:pt x="129572" y="283933"/>
                  </a:cubicBezTo>
                  <a:cubicBezTo>
                    <a:pt x="104678" y="238022"/>
                    <a:pt x="80702" y="192111"/>
                    <a:pt x="59583" y="144058"/>
                  </a:cubicBezTo>
                  <a:cubicBezTo>
                    <a:pt x="48462" y="120592"/>
                    <a:pt x="38566" y="96514"/>
                    <a:pt x="28975" y="72641"/>
                  </a:cubicBezTo>
                  <a:cubicBezTo>
                    <a:pt x="19385" y="48767"/>
                    <a:pt x="9080" y="24180"/>
                    <a:pt x="0" y="0"/>
                  </a:cubicBezTo>
                  <a:close/>
                </a:path>
              </a:pathLst>
            </a:custGeom>
            <a:solidFill>
              <a:srgbClr val="EDCFC5"/>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2" name="Frihåndsform: figur 21">
              <a:extLst>
                <a:ext uri="{FF2B5EF4-FFF2-40B4-BE49-F238E27FC236}">
                  <a16:creationId xmlns:a16="http://schemas.microsoft.com/office/drawing/2014/main" id="{069E5464-79F6-3CA7-ED15-8F6CAD1DA886}"/>
                </a:ext>
              </a:extLst>
            </p:cNvPr>
            <p:cNvSpPr/>
            <p:nvPr/>
          </p:nvSpPr>
          <p:spPr>
            <a:xfrm>
              <a:off x="4982906" y="4157617"/>
              <a:ext cx="1314394" cy="1230918"/>
            </a:xfrm>
            <a:custGeom>
              <a:avLst/>
              <a:gdLst>
                <a:gd name="connsiteX0" fmla="*/ 319032 w 1314394"/>
                <a:gd name="connsiteY0" fmla="*/ 713453 h 1230918"/>
                <a:gd name="connsiteX1" fmla="*/ 557976 w 1314394"/>
                <a:gd name="connsiteY1" fmla="*/ 824047 h 1230918"/>
                <a:gd name="connsiteX2" fmla="*/ 562363 w 1314394"/>
                <a:gd name="connsiteY2" fmla="*/ 825986 h 1230918"/>
                <a:gd name="connsiteX3" fmla="*/ 561138 w 1314394"/>
                <a:gd name="connsiteY3" fmla="*/ 830883 h 1230918"/>
                <a:gd name="connsiteX4" fmla="*/ 513289 w 1314394"/>
                <a:gd name="connsiteY4" fmla="*/ 1022076 h 1230918"/>
                <a:gd name="connsiteX5" fmla="*/ 513289 w 1314394"/>
                <a:gd name="connsiteY5" fmla="*/ 1022076 h 1230918"/>
                <a:gd name="connsiteX6" fmla="*/ 513289 w 1314394"/>
                <a:gd name="connsiteY6" fmla="*/ 1022688 h 1230918"/>
                <a:gd name="connsiteX7" fmla="*/ 508289 w 1314394"/>
                <a:gd name="connsiteY7" fmla="*/ 1081861 h 1230918"/>
                <a:gd name="connsiteX8" fmla="*/ 544100 w 1314394"/>
                <a:gd name="connsiteY8" fmla="*/ 1111754 h 1230918"/>
                <a:gd name="connsiteX9" fmla="*/ 596541 w 1314394"/>
                <a:gd name="connsiteY9" fmla="*/ 1091350 h 1230918"/>
                <a:gd name="connsiteX10" fmla="*/ 639187 w 1314394"/>
                <a:gd name="connsiteY10" fmla="*/ 1046459 h 1230918"/>
                <a:gd name="connsiteX11" fmla="*/ 671529 w 1314394"/>
                <a:gd name="connsiteY11" fmla="*/ 990958 h 1230918"/>
                <a:gd name="connsiteX12" fmla="*/ 699892 w 1314394"/>
                <a:gd name="connsiteY12" fmla="*/ 931784 h 1230918"/>
                <a:gd name="connsiteX13" fmla="*/ 751823 w 1314394"/>
                <a:gd name="connsiteY13" fmla="*/ 810784 h 1230918"/>
                <a:gd name="connsiteX14" fmla="*/ 756925 w 1314394"/>
                <a:gd name="connsiteY14" fmla="*/ 798337 h 1230918"/>
                <a:gd name="connsiteX15" fmla="*/ 768453 w 1314394"/>
                <a:gd name="connsiteY15" fmla="*/ 803642 h 1230918"/>
                <a:gd name="connsiteX16" fmla="*/ 828648 w 1314394"/>
                <a:gd name="connsiteY16" fmla="*/ 894852 h 1230918"/>
                <a:gd name="connsiteX17" fmla="*/ 823547 w 1314394"/>
                <a:gd name="connsiteY17" fmla="*/ 948210 h 1230918"/>
                <a:gd name="connsiteX18" fmla="*/ 811100 w 1314394"/>
                <a:gd name="connsiteY18" fmla="*/ 997794 h 1230918"/>
                <a:gd name="connsiteX19" fmla="*/ 783961 w 1314394"/>
                <a:gd name="connsiteY19" fmla="*/ 1094104 h 1230918"/>
                <a:gd name="connsiteX20" fmla="*/ 774779 w 1314394"/>
                <a:gd name="connsiteY20" fmla="*/ 1141749 h 1230918"/>
                <a:gd name="connsiteX21" fmla="*/ 777330 w 1314394"/>
                <a:gd name="connsiteY21" fmla="*/ 1185518 h 1230918"/>
                <a:gd name="connsiteX22" fmla="*/ 787532 w 1314394"/>
                <a:gd name="connsiteY22" fmla="*/ 1199393 h 1230918"/>
                <a:gd name="connsiteX23" fmla="*/ 805182 w 1314394"/>
                <a:gd name="connsiteY23" fmla="*/ 1205311 h 1230918"/>
                <a:gd name="connsiteX24" fmla="*/ 842727 w 1314394"/>
                <a:gd name="connsiteY24" fmla="*/ 1192966 h 1230918"/>
                <a:gd name="connsiteX25" fmla="*/ 901800 w 1314394"/>
                <a:gd name="connsiteY25" fmla="*/ 1119305 h 1230918"/>
                <a:gd name="connsiteX26" fmla="*/ 974238 w 1314394"/>
                <a:gd name="connsiteY26" fmla="*/ 935661 h 1230918"/>
                <a:gd name="connsiteX27" fmla="*/ 993010 w 1314394"/>
                <a:gd name="connsiteY27" fmla="*/ 839249 h 1230918"/>
                <a:gd name="connsiteX28" fmla="*/ 994133 w 1314394"/>
                <a:gd name="connsiteY28" fmla="*/ 815681 h 1230918"/>
                <a:gd name="connsiteX29" fmla="*/ 993214 w 1314394"/>
                <a:gd name="connsiteY29" fmla="*/ 804765 h 1230918"/>
                <a:gd name="connsiteX30" fmla="*/ 992398 w 1314394"/>
                <a:gd name="connsiteY30" fmla="*/ 799765 h 1230918"/>
                <a:gd name="connsiteX31" fmla="*/ 990868 w 1314394"/>
                <a:gd name="connsiteY31" fmla="*/ 792318 h 1230918"/>
                <a:gd name="connsiteX32" fmla="*/ 993112 w 1314394"/>
                <a:gd name="connsiteY32" fmla="*/ 772729 h 1230918"/>
                <a:gd name="connsiteX33" fmla="*/ 996887 w 1314394"/>
                <a:gd name="connsiteY33" fmla="*/ 767118 h 1230918"/>
                <a:gd name="connsiteX34" fmla="*/ 1001988 w 1314394"/>
                <a:gd name="connsiteY34" fmla="*/ 762833 h 1230918"/>
                <a:gd name="connsiteX35" fmla="*/ 1012191 w 1314394"/>
                <a:gd name="connsiteY35" fmla="*/ 759058 h 1230918"/>
                <a:gd name="connsiteX36" fmla="*/ 1042084 w 1314394"/>
                <a:gd name="connsiteY36" fmla="*/ 762221 h 1230918"/>
                <a:gd name="connsiteX37" fmla="*/ 1091057 w 1314394"/>
                <a:gd name="connsiteY37" fmla="*/ 778748 h 1230918"/>
                <a:gd name="connsiteX38" fmla="*/ 1102789 w 1314394"/>
                <a:gd name="connsiteY38" fmla="*/ 783340 h 1230918"/>
                <a:gd name="connsiteX39" fmla="*/ 1107176 w 1314394"/>
                <a:gd name="connsiteY39" fmla="*/ 785278 h 1230918"/>
                <a:gd name="connsiteX40" fmla="*/ 1113400 w 1314394"/>
                <a:gd name="connsiteY40" fmla="*/ 790583 h 1230918"/>
                <a:gd name="connsiteX41" fmla="*/ 1118297 w 1314394"/>
                <a:gd name="connsiteY41" fmla="*/ 800786 h 1230918"/>
                <a:gd name="connsiteX42" fmla="*/ 1118297 w 1314394"/>
                <a:gd name="connsiteY42" fmla="*/ 830066 h 1230918"/>
                <a:gd name="connsiteX43" fmla="*/ 1103299 w 1314394"/>
                <a:gd name="connsiteY43" fmla="*/ 929540 h 1230918"/>
                <a:gd name="connsiteX44" fmla="*/ 1105749 w 1314394"/>
                <a:gd name="connsiteY44" fmla="*/ 1024626 h 1230918"/>
                <a:gd name="connsiteX45" fmla="*/ 1126154 w 1314394"/>
                <a:gd name="connsiteY45" fmla="*/ 1063191 h 1230918"/>
                <a:gd name="connsiteX46" fmla="*/ 1163087 w 1314394"/>
                <a:gd name="connsiteY46" fmla="*/ 1084718 h 1230918"/>
                <a:gd name="connsiteX47" fmla="*/ 1174207 w 1314394"/>
                <a:gd name="connsiteY47" fmla="*/ 1087167 h 1230918"/>
                <a:gd name="connsiteX48" fmla="*/ 1176962 w 1314394"/>
                <a:gd name="connsiteY48" fmla="*/ 1087677 h 1230918"/>
                <a:gd name="connsiteX49" fmla="*/ 1176962 w 1314394"/>
                <a:gd name="connsiteY49" fmla="*/ 1087677 h 1230918"/>
                <a:gd name="connsiteX50" fmla="*/ 1176145 w 1314394"/>
                <a:gd name="connsiteY50" fmla="*/ 1087677 h 1230918"/>
                <a:gd name="connsiteX51" fmla="*/ 1176145 w 1314394"/>
                <a:gd name="connsiteY51" fmla="*/ 1087677 h 1230918"/>
                <a:gd name="connsiteX52" fmla="*/ 1176145 w 1314394"/>
                <a:gd name="connsiteY52" fmla="*/ 1087677 h 1230918"/>
                <a:gd name="connsiteX53" fmla="*/ 1176860 w 1314394"/>
                <a:gd name="connsiteY53" fmla="*/ 1087167 h 1230918"/>
                <a:gd name="connsiteX54" fmla="*/ 1190327 w 1314394"/>
                <a:gd name="connsiteY54" fmla="*/ 1072068 h 1230918"/>
                <a:gd name="connsiteX55" fmla="*/ 1214813 w 1314394"/>
                <a:gd name="connsiteY55" fmla="*/ 1030237 h 1230918"/>
                <a:gd name="connsiteX56" fmla="*/ 1255623 w 1314394"/>
                <a:gd name="connsiteY56" fmla="*/ 939844 h 1230918"/>
                <a:gd name="connsiteX57" fmla="*/ 1273886 w 1314394"/>
                <a:gd name="connsiteY57" fmla="*/ 893525 h 1230918"/>
                <a:gd name="connsiteX58" fmla="*/ 1282252 w 1314394"/>
                <a:gd name="connsiteY58" fmla="*/ 870264 h 1230918"/>
                <a:gd name="connsiteX59" fmla="*/ 1286027 w 1314394"/>
                <a:gd name="connsiteY59" fmla="*/ 858735 h 1230918"/>
                <a:gd name="connsiteX60" fmla="*/ 1287455 w 1314394"/>
                <a:gd name="connsiteY60" fmla="*/ 853430 h 1230918"/>
                <a:gd name="connsiteX61" fmla="*/ 1287455 w 1314394"/>
                <a:gd name="connsiteY61" fmla="*/ 852206 h 1230918"/>
                <a:gd name="connsiteX62" fmla="*/ 1287455 w 1314394"/>
                <a:gd name="connsiteY62" fmla="*/ 850471 h 1230918"/>
                <a:gd name="connsiteX63" fmla="*/ 1279905 w 1314394"/>
                <a:gd name="connsiteY63" fmla="*/ 803540 h 1230918"/>
                <a:gd name="connsiteX64" fmla="*/ 1266642 w 1314394"/>
                <a:gd name="connsiteY64" fmla="*/ 756201 h 1230918"/>
                <a:gd name="connsiteX65" fmla="*/ 1177268 w 1314394"/>
                <a:gd name="connsiteY65" fmla="*/ 582761 h 1230918"/>
                <a:gd name="connsiteX66" fmla="*/ 1144518 w 1314394"/>
                <a:gd name="connsiteY66" fmla="*/ 547154 h 1230918"/>
                <a:gd name="connsiteX67" fmla="*/ 1106871 w 1314394"/>
                <a:gd name="connsiteY67" fmla="*/ 517771 h 1230918"/>
                <a:gd name="connsiteX68" fmla="*/ 1064428 w 1314394"/>
                <a:gd name="connsiteY68" fmla="*/ 497367 h 1230918"/>
                <a:gd name="connsiteX69" fmla="*/ 1053205 w 1314394"/>
                <a:gd name="connsiteY69" fmla="*/ 493694 h 1230918"/>
                <a:gd name="connsiteX70" fmla="*/ 1041779 w 1314394"/>
                <a:gd name="connsiteY70" fmla="*/ 490837 h 1230918"/>
                <a:gd name="connsiteX71" fmla="*/ 1017394 w 1314394"/>
                <a:gd name="connsiteY71" fmla="*/ 485634 h 1230918"/>
                <a:gd name="connsiteX72" fmla="*/ 821098 w 1314394"/>
                <a:gd name="connsiteY72" fmla="*/ 441151 h 1230918"/>
                <a:gd name="connsiteX73" fmla="*/ 39586 w 1314394"/>
                <a:gd name="connsiteY73" fmla="*/ 252611 h 1230918"/>
                <a:gd name="connsiteX74" fmla="*/ 0 w 1314394"/>
                <a:gd name="connsiteY74" fmla="*/ 242919 h 1230918"/>
                <a:gd name="connsiteX75" fmla="*/ 38055 w 1314394"/>
                <a:gd name="connsiteY75" fmla="*/ 227921 h 1230918"/>
                <a:gd name="connsiteX76" fmla="*/ 194664 w 1314394"/>
                <a:gd name="connsiteY76" fmla="*/ 170176 h 1230918"/>
                <a:gd name="connsiteX77" fmla="*/ 353007 w 1314394"/>
                <a:gd name="connsiteY77" fmla="*/ 113042 h 1230918"/>
                <a:gd name="connsiteX78" fmla="*/ 667346 w 1314394"/>
                <a:gd name="connsiteY78" fmla="*/ 0 h 1230918"/>
                <a:gd name="connsiteX79" fmla="*/ 358210 w 1314394"/>
                <a:gd name="connsiteY79" fmla="*/ 126612 h 1230918"/>
                <a:gd name="connsiteX80" fmla="*/ 203642 w 1314394"/>
                <a:gd name="connsiteY80" fmla="*/ 189662 h 1230918"/>
                <a:gd name="connsiteX81" fmla="*/ 48666 w 1314394"/>
                <a:gd name="connsiteY81" fmla="*/ 251795 h 1230918"/>
                <a:gd name="connsiteX82" fmla="*/ 47136 w 1314394"/>
                <a:gd name="connsiteY82" fmla="*/ 227105 h 1230918"/>
                <a:gd name="connsiteX83" fmla="*/ 828240 w 1314394"/>
                <a:gd name="connsiteY83" fmla="*/ 416054 h 1230918"/>
                <a:gd name="connsiteX84" fmla="*/ 1023924 w 1314394"/>
                <a:gd name="connsiteY84" fmla="*/ 460332 h 1230918"/>
                <a:gd name="connsiteX85" fmla="*/ 1048614 w 1314394"/>
                <a:gd name="connsiteY85" fmla="*/ 465637 h 1230918"/>
                <a:gd name="connsiteX86" fmla="*/ 1061571 w 1314394"/>
                <a:gd name="connsiteY86" fmla="*/ 468800 h 1230918"/>
                <a:gd name="connsiteX87" fmla="*/ 1074222 w 1314394"/>
                <a:gd name="connsiteY87" fmla="*/ 472983 h 1230918"/>
                <a:gd name="connsiteX88" fmla="*/ 1121766 w 1314394"/>
                <a:gd name="connsiteY88" fmla="*/ 496244 h 1230918"/>
                <a:gd name="connsiteX89" fmla="*/ 1163290 w 1314394"/>
                <a:gd name="connsiteY89" fmla="*/ 528484 h 1230918"/>
                <a:gd name="connsiteX90" fmla="*/ 1198489 w 1314394"/>
                <a:gd name="connsiteY90" fmla="*/ 566845 h 1230918"/>
                <a:gd name="connsiteX91" fmla="*/ 1292148 w 1314394"/>
                <a:gd name="connsiteY91" fmla="*/ 748549 h 1230918"/>
                <a:gd name="connsiteX92" fmla="*/ 1306023 w 1314394"/>
                <a:gd name="connsiteY92" fmla="*/ 797929 h 1230918"/>
                <a:gd name="connsiteX93" fmla="*/ 1314287 w 1314394"/>
                <a:gd name="connsiteY93" fmla="*/ 850063 h 1230918"/>
                <a:gd name="connsiteX94" fmla="*/ 1314287 w 1314394"/>
                <a:gd name="connsiteY94" fmla="*/ 854552 h 1230918"/>
                <a:gd name="connsiteX95" fmla="*/ 1313369 w 1314394"/>
                <a:gd name="connsiteY95" fmla="*/ 859551 h 1230918"/>
                <a:gd name="connsiteX96" fmla="*/ 1311533 w 1314394"/>
                <a:gd name="connsiteY96" fmla="*/ 866285 h 1230918"/>
                <a:gd name="connsiteX97" fmla="*/ 1307554 w 1314394"/>
                <a:gd name="connsiteY97" fmla="*/ 878732 h 1230918"/>
                <a:gd name="connsiteX98" fmla="*/ 1298882 w 1314394"/>
                <a:gd name="connsiteY98" fmla="*/ 902707 h 1230918"/>
                <a:gd name="connsiteX99" fmla="*/ 1280313 w 1314394"/>
                <a:gd name="connsiteY99" fmla="*/ 949843 h 1230918"/>
                <a:gd name="connsiteX100" fmla="*/ 1238177 w 1314394"/>
                <a:gd name="connsiteY100" fmla="*/ 1042174 h 1230918"/>
                <a:gd name="connsiteX101" fmla="*/ 1211854 w 1314394"/>
                <a:gd name="connsiteY101" fmla="*/ 1086963 h 1230918"/>
                <a:gd name="connsiteX102" fmla="*/ 1191449 w 1314394"/>
                <a:gd name="connsiteY102" fmla="*/ 1108694 h 1230918"/>
                <a:gd name="connsiteX103" fmla="*/ 1189613 w 1314394"/>
                <a:gd name="connsiteY103" fmla="*/ 1110020 h 1230918"/>
                <a:gd name="connsiteX104" fmla="*/ 1186960 w 1314394"/>
                <a:gd name="connsiteY104" fmla="*/ 1111244 h 1230918"/>
                <a:gd name="connsiteX105" fmla="*/ 1180941 w 1314394"/>
                <a:gd name="connsiteY105" fmla="*/ 1113081 h 1230918"/>
                <a:gd name="connsiteX106" fmla="*/ 1176962 w 1314394"/>
                <a:gd name="connsiteY106" fmla="*/ 1113081 h 1230918"/>
                <a:gd name="connsiteX107" fmla="*/ 1173799 w 1314394"/>
                <a:gd name="connsiteY107" fmla="*/ 1113081 h 1230918"/>
                <a:gd name="connsiteX108" fmla="*/ 1170432 w 1314394"/>
                <a:gd name="connsiteY108" fmla="*/ 1112469 h 1230918"/>
                <a:gd name="connsiteX109" fmla="*/ 1156965 w 1314394"/>
                <a:gd name="connsiteY109" fmla="*/ 1109408 h 1230918"/>
                <a:gd name="connsiteX110" fmla="*/ 1107993 w 1314394"/>
                <a:gd name="connsiteY110" fmla="*/ 1080739 h 1230918"/>
                <a:gd name="connsiteX111" fmla="*/ 1081772 w 1314394"/>
                <a:gd name="connsiteY111" fmla="*/ 1031360 h 1230918"/>
                <a:gd name="connsiteX112" fmla="*/ 1078507 w 1314394"/>
                <a:gd name="connsiteY112" fmla="*/ 926683 h 1230918"/>
                <a:gd name="connsiteX113" fmla="*/ 1093505 w 1314394"/>
                <a:gd name="connsiteY113" fmla="*/ 827516 h 1230918"/>
                <a:gd name="connsiteX114" fmla="*/ 1093505 w 1314394"/>
                <a:gd name="connsiteY114" fmla="*/ 807111 h 1230918"/>
                <a:gd name="connsiteX115" fmla="*/ 1093505 w 1314394"/>
                <a:gd name="connsiteY115" fmla="*/ 806397 h 1230918"/>
                <a:gd name="connsiteX116" fmla="*/ 1094933 w 1314394"/>
                <a:gd name="connsiteY116" fmla="*/ 807621 h 1230918"/>
                <a:gd name="connsiteX117" fmla="*/ 1093607 w 1314394"/>
                <a:gd name="connsiteY117" fmla="*/ 807111 h 1230918"/>
                <a:gd name="connsiteX118" fmla="*/ 1081976 w 1314394"/>
                <a:gd name="connsiteY118" fmla="*/ 802520 h 1230918"/>
                <a:gd name="connsiteX119" fmla="*/ 1035861 w 1314394"/>
                <a:gd name="connsiteY119" fmla="*/ 786911 h 1230918"/>
                <a:gd name="connsiteX120" fmla="*/ 1016170 w 1314394"/>
                <a:gd name="connsiteY120" fmla="*/ 784258 h 1230918"/>
                <a:gd name="connsiteX121" fmla="*/ 1016170 w 1314394"/>
                <a:gd name="connsiteY121" fmla="*/ 783748 h 1230918"/>
                <a:gd name="connsiteX122" fmla="*/ 1016170 w 1314394"/>
                <a:gd name="connsiteY122" fmla="*/ 788747 h 1230918"/>
                <a:gd name="connsiteX123" fmla="*/ 1017190 w 1314394"/>
                <a:gd name="connsiteY123" fmla="*/ 793644 h 1230918"/>
                <a:gd name="connsiteX124" fmla="*/ 1018517 w 1314394"/>
                <a:gd name="connsiteY124" fmla="*/ 800990 h 1230918"/>
                <a:gd name="connsiteX125" fmla="*/ 1019639 w 1314394"/>
                <a:gd name="connsiteY125" fmla="*/ 815069 h 1230918"/>
                <a:gd name="connsiteX126" fmla="*/ 1018414 w 1314394"/>
                <a:gd name="connsiteY126" fmla="*/ 841697 h 1230918"/>
                <a:gd name="connsiteX127" fmla="*/ 998826 w 1314394"/>
                <a:gd name="connsiteY127" fmla="*/ 942293 h 1230918"/>
                <a:gd name="connsiteX128" fmla="*/ 924348 w 1314394"/>
                <a:gd name="connsiteY128" fmla="*/ 1131751 h 1230918"/>
                <a:gd name="connsiteX129" fmla="*/ 858133 w 1314394"/>
                <a:gd name="connsiteY129" fmla="*/ 1213370 h 1230918"/>
                <a:gd name="connsiteX130" fmla="*/ 846197 w 1314394"/>
                <a:gd name="connsiteY130" fmla="*/ 1221022 h 1230918"/>
                <a:gd name="connsiteX131" fmla="*/ 832831 w 1314394"/>
                <a:gd name="connsiteY131" fmla="*/ 1227042 h 1230918"/>
                <a:gd name="connsiteX132" fmla="*/ 818140 w 1314394"/>
                <a:gd name="connsiteY132" fmla="*/ 1230612 h 1230918"/>
                <a:gd name="connsiteX133" fmla="*/ 802530 w 1314394"/>
                <a:gd name="connsiteY133" fmla="*/ 1230612 h 1230918"/>
                <a:gd name="connsiteX134" fmla="*/ 773146 w 1314394"/>
                <a:gd name="connsiteY134" fmla="*/ 1220410 h 1230918"/>
                <a:gd name="connsiteX135" fmla="*/ 753863 w 1314394"/>
                <a:gd name="connsiteY135" fmla="*/ 1194598 h 1230918"/>
                <a:gd name="connsiteX136" fmla="*/ 749783 w 1314394"/>
                <a:gd name="connsiteY136" fmla="*/ 1138995 h 1230918"/>
                <a:gd name="connsiteX137" fmla="*/ 759475 w 1314394"/>
                <a:gd name="connsiteY137" fmla="*/ 1087983 h 1230918"/>
                <a:gd name="connsiteX138" fmla="*/ 786818 w 1314394"/>
                <a:gd name="connsiteY138" fmla="*/ 990856 h 1230918"/>
                <a:gd name="connsiteX139" fmla="*/ 798857 w 1314394"/>
                <a:gd name="connsiteY139" fmla="*/ 943109 h 1230918"/>
                <a:gd name="connsiteX140" fmla="*/ 803550 w 1314394"/>
                <a:gd name="connsiteY140" fmla="*/ 896688 h 1230918"/>
                <a:gd name="connsiteX141" fmla="*/ 799469 w 1314394"/>
                <a:gd name="connsiteY141" fmla="*/ 874957 h 1230918"/>
                <a:gd name="connsiteX142" fmla="*/ 790286 w 1314394"/>
                <a:gd name="connsiteY142" fmla="*/ 855266 h 1230918"/>
                <a:gd name="connsiteX143" fmla="*/ 776309 w 1314394"/>
                <a:gd name="connsiteY143" fmla="*/ 838841 h 1230918"/>
                <a:gd name="connsiteX144" fmla="*/ 759373 w 1314394"/>
                <a:gd name="connsiteY144" fmla="*/ 827414 h 1230918"/>
                <a:gd name="connsiteX145" fmla="*/ 775901 w 1314394"/>
                <a:gd name="connsiteY145" fmla="*/ 820272 h 1230918"/>
                <a:gd name="connsiteX146" fmla="*/ 723460 w 1314394"/>
                <a:gd name="connsiteY146" fmla="*/ 942701 h 1230918"/>
                <a:gd name="connsiteX147" fmla="*/ 694485 w 1314394"/>
                <a:gd name="connsiteY147" fmla="*/ 1002793 h 1230918"/>
                <a:gd name="connsiteX148" fmla="*/ 660307 w 1314394"/>
                <a:gd name="connsiteY148" fmla="*/ 1061559 h 1230918"/>
                <a:gd name="connsiteX149" fmla="*/ 612457 w 1314394"/>
                <a:gd name="connsiteY149" fmla="*/ 1112571 h 1230918"/>
                <a:gd name="connsiteX150" fmla="*/ 543284 w 1314394"/>
                <a:gd name="connsiteY150" fmla="*/ 1137465 h 1230918"/>
                <a:gd name="connsiteX151" fmla="*/ 505738 w 1314394"/>
                <a:gd name="connsiteY151" fmla="*/ 1122161 h 1230918"/>
                <a:gd name="connsiteX152" fmla="*/ 486660 w 1314394"/>
                <a:gd name="connsiteY152" fmla="*/ 1087473 h 1230918"/>
                <a:gd name="connsiteX153" fmla="*/ 494924 w 1314394"/>
                <a:gd name="connsiteY153" fmla="*/ 1016668 h 1230918"/>
                <a:gd name="connsiteX154" fmla="*/ 494924 w 1314394"/>
                <a:gd name="connsiteY154" fmla="*/ 1017280 h 1230918"/>
                <a:gd name="connsiteX155" fmla="*/ 550324 w 1314394"/>
                <a:gd name="connsiteY155" fmla="*/ 828230 h 1230918"/>
                <a:gd name="connsiteX156" fmla="*/ 553487 w 1314394"/>
                <a:gd name="connsiteY156" fmla="*/ 835066 h 1230918"/>
                <a:gd name="connsiteX157" fmla="*/ 319032 w 1314394"/>
                <a:gd name="connsiteY157" fmla="*/ 713453 h 1230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314394" h="1230918">
                  <a:moveTo>
                    <a:pt x="319032" y="713453"/>
                  </a:moveTo>
                  <a:cubicBezTo>
                    <a:pt x="398816" y="750110"/>
                    <a:pt x="478467" y="786982"/>
                    <a:pt x="557976" y="824047"/>
                  </a:cubicBezTo>
                  <a:lnTo>
                    <a:pt x="562363" y="825986"/>
                  </a:lnTo>
                  <a:lnTo>
                    <a:pt x="561138" y="830883"/>
                  </a:lnTo>
                  <a:lnTo>
                    <a:pt x="513289" y="1022076"/>
                  </a:lnTo>
                  <a:lnTo>
                    <a:pt x="513289" y="1022076"/>
                  </a:lnTo>
                  <a:lnTo>
                    <a:pt x="513289" y="1022688"/>
                  </a:lnTo>
                  <a:cubicBezTo>
                    <a:pt x="506289" y="1041593"/>
                    <a:pt x="504565" y="1062049"/>
                    <a:pt x="508289" y="1081861"/>
                  </a:cubicBezTo>
                  <a:cubicBezTo>
                    <a:pt x="511288" y="1099257"/>
                    <a:pt x="526450" y="1111908"/>
                    <a:pt x="544100" y="1111754"/>
                  </a:cubicBezTo>
                  <a:cubicBezTo>
                    <a:pt x="563281" y="1110612"/>
                    <a:pt x="581625" y="1103470"/>
                    <a:pt x="596541" y="1091350"/>
                  </a:cubicBezTo>
                  <a:cubicBezTo>
                    <a:pt x="613038" y="1078740"/>
                    <a:pt x="627434" y="1063579"/>
                    <a:pt x="639187" y="1046459"/>
                  </a:cubicBezTo>
                  <a:cubicBezTo>
                    <a:pt x="651379" y="1028819"/>
                    <a:pt x="662194" y="1010261"/>
                    <a:pt x="671529" y="990958"/>
                  </a:cubicBezTo>
                  <a:cubicBezTo>
                    <a:pt x="681732" y="971574"/>
                    <a:pt x="690812" y="951781"/>
                    <a:pt x="699892" y="931784"/>
                  </a:cubicBezTo>
                  <a:cubicBezTo>
                    <a:pt x="718155" y="891995"/>
                    <a:pt x="735499" y="851492"/>
                    <a:pt x="751823" y="810784"/>
                  </a:cubicBezTo>
                  <a:lnTo>
                    <a:pt x="756925" y="798337"/>
                  </a:lnTo>
                  <a:lnTo>
                    <a:pt x="768453" y="803642"/>
                  </a:lnTo>
                  <a:cubicBezTo>
                    <a:pt x="803713" y="820721"/>
                    <a:pt x="826812" y="855715"/>
                    <a:pt x="828648" y="894852"/>
                  </a:cubicBezTo>
                  <a:cubicBezTo>
                    <a:pt x="829281" y="912787"/>
                    <a:pt x="827556" y="930723"/>
                    <a:pt x="823547" y="948210"/>
                  </a:cubicBezTo>
                  <a:cubicBezTo>
                    <a:pt x="820078" y="965044"/>
                    <a:pt x="815691" y="981572"/>
                    <a:pt x="811100" y="997794"/>
                  </a:cubicBezTo>
                  <a:cubicBezTo>
                    <a:pt x="801917" y="1030339"/>
                    <a:pt x="791817" y="1062171"/>
                    <a:pt x="783961" y="1094104"/>
                  </a:cubicBezTo>
                  <a:cubicBezTo>
                    <a:pt x="779890" y="1109775"/>
                    <a:pt x="776819" y="1125691"/>
                    <a:pt x="774779" y="1141749"/>
                  </a:cubicBezTo>
                  <a:cubicBezTo>
                    <a:pt x="772361" y="1156349"/>
                    <a:pt x="773228" y="1171295"/>
                    <a:pt x="777330" y="1185518"/>
                  </a:cubicBezTo>
                  <a:cubicBezTo>
                    <a:pt x="779329" y="1191027"/>
                    <a:pt x="782869" y="1195842"/>
                    <a:pt x="787532" y="1199393"/>
                  </a:cubicBezTo>
                  <a:cubicBezTo>
                    <a:pt x="792878" y="1202698"/>
                    <a:pt x="798918" y="1204719"/>
                    <a:pt x="805182" y="1205311"/>
                  </a:cubicBezTo>
                  <a:cubicBezTo>
                    <a:pt x="818803" y="1206035"/>
                    <a:pt x="832199" y="1201637"/>
                    <a:pt x="842727" y="1192966"/>
                  </a:cubicBezTo>
                  <a:cubicBezTo>
                    <a:pt x="867091" y="1172551"/>
                    <a:pt x="887170" y="1147514"/>
                    <a:pt x="901800" y="1119305"/>
                  </a:cubicBezTo>
                  <a:cubicBezTo>
                    <a:pt x="933275" y="1061242"/>
                    <a:pt x="957597" y="999579"/>
                    <a:pt x="974238" y="935661"/>
                  </a:cubicBezTo>
                  <a:cubicBezTo>
                    <a:pt x="983114" y="904095"/>
                    <a:pt x="989399" y="871845"/>
                    <a:pt x="993010" y="839249"/>
                  </a:cubicBezTo>
                  <a:cubicBezTo>
                    <a:pt x="993837" y="831423"/>
                    <a:pt x="994204" y="823547"/>
                    <a:pt x="994133" y="815681"/>
                  </a:cubicBezTo>
                  <a:cubicBezTo>
                    <a:pt x="994041" y="812029"/>
                    <a:pt x="993735" y="808386"/>
                    <a:pt x="993214" y="804765"/>
                  </a:cubicBezTo>
                  <a:lnTo>
                    <a:pt x="992398" y="799765"/>
                  </a:lnTo>
                  <a:lnTo>
                    <a:pt x="990868" y="792318"/>
                  </a:lnTo>
                  <a:cubicBezTo>
                    <a:pt x="989715" y="785707"/>
                    <a:pt x="990501" y="778912"/>
                    <a:pt x="993112" y="772729"/>
                  </a:cubicBezTo>
                  <a:cubicBezTo>
                    <a:pt x="993980" y="770627"/>
                    <a:pt x="995265" y="768719"/>
                    <a:pt x="996887" y="767118"/>
                  </a:cubicBezTo>
                  <a:cubicBezTo>
                    <a:pt x="998285" y="765363"/>
                    <a:pt x="1000019" y="763904"/>
                    <a:pt x="1001988" y="762833"/>
                  </a:cubicBezTo>
                  <a:cubicBezTo>
                    <a:pt x="1005090" y="760884"/>
                    <a:pt x="1008569" y="759599"/>
                    <a:pt x="1012191" y="759058"/>
                  </a:cubicBezTo>
                  <a:cubicBezTo>
                    <a:pt x="1022271" y="758129"/>
                    <a:pt x="1032423" y="759201"/>
                    <a:pt x="1042084" y="762221"/>
                  </a:cubicBezTo>
                  <a:cubicBezTo>
                    <a:pt x="1058695" y="766842"/>
                    <a:pt x="1075049" y="772352"/>
                    <a:pt x="1091057" y="778748"/>
                  </a:cubicBezTo>
                  <a:lnTo>
                    <a:pt x="1102789" y="783340"/>
                  </a:lnTo>
                  <a:cubicBezTo>
                    <a:pt x="1104309" y="783860"/>
                    <a:pt x="1105768" y="784503"/>
                    <a:pt x="1107176" y="785278"/>
                  </a:cubicBezTo>
                  <a:cubicBezTo>
                    <a:pt x="1109584" y="786604"/>
                    <a:pt x="1111707" y="788410"/>
                    <a:pt x="1113400" y="790583"/>
                  </a:cubicBezTo>
                  <a:cubicBezTo>
                    <a:pt x="1115757" y="793583"/>
                    <a:pt x="1117430" y="797062"/>
                    <a:pt x="1118297" y="800786"/>
                  </a:cubicBezTo>
                  <a:cubicBezTo>
                    <a:pt x="1119817" y="810488"/>
                    <a:pt x="1119817" y="820364"/>
                    <a:pt x="1118297" y="830066"/>
                  </a:cubicBezTo>
                  <a:cubicBezTo>
                    <a:pt x="1114013" y="864754"/>
                    <a:pt x="1106871" y="896790"/>
                    <a:pt x="1103299" y="929540"/>
                  </a:cubicBezTo>
                  <a:cubicBezTo>
                    <a:pt x="1098362" y="961126"/>
                    <a:pt x="1099188" y="993336"/>
                    <a:pt x="1105749" y="1024626"/>
                  </a:cubicBezTo>
                  <a:cubicBezTo>
                    <a:pt x="1109227" y="1038981"/>
                    <a:pt x="1116247" y="1052234"/>
                    <a:pt x="1126154" y="1063191"/>
                  </a:cubicBezTo>
                  <a:cubicBezTo>
                    <a:pt x="1136233" y="1073649"/>
                    <a:pt x="1149017" y="1081096"/>
                    <a:pt x="1163087" y="1084718"/>
                  </a:cubicBezTo>
                  <a:cubicBezTo>
                    <a:pt x="1166759" y="1085636"/>
                    <a:pt x="1170432" y="1086555"/>
                    <a:pt x="1174207" y="1087167"/>
                  </a:cubicBezTo>
                  <a:lnTo>
                    <a:pt x="1176962" y="1087677"/>
                  </a:lnTo>
                  <a:cubicBezTo>
                    <a:pt x="1177778" y="1087677"/>
                    <a:pt x="1176962" y="1087677"/>
                    <a:pt x="1176962" y="1087677"/>
                  </a:cubicBezTo>
                  <a:lnTo>
                    <a:pt x="1176145" y="1087677"/>
                  </a:lnTo>
                  <a:cubicBezTo>
                    <a:pt x="1175431" y="1087677"/>
                    <a:pt x="1176145" y="1087677"/>
                    <a:pt x="1176145" y="1087677"/>
                  </a:cubicBezTo>
                  <a:lnTo>
                    <a:pt x="1176145" y="1087677"/>
                  </a:lnTo>
                  <a:lnTo>
                    <a:pt x="1176860" y="1087167"/>
                  </a:lnTo>
                  <a:cubicBezTo>
                    <a:pt x="1182022" y="1082780"/>
                    <a:pt x="1186562" y="1077699"/>
                    <a:pt x="1190327" y="1072068"/>
                  </a:cubicBezTo>
                  <a:cubicBezTo>
                    <a:pt x="1199356" y="1058651"/>
                    <a:pt x="1207528" y="1044674"/>
                    <a:pt x="1214813" y="1030237"/>
                  </a:cubicBezTo>
                  <a:cubicBezTo>
                    <a:pt x="1229913" y="1000956"/>
                    <a:pt x="1243380" y="970554"/>
                    <a:pt x="1255623" y="939844"/>
                  </a:cubicBezTo>
                  <a:cubicBezTo>
                    <a:pt x="1261949" y="924541"/>
                    <a:pt x="1268070" y="909237"/>
                    <a:pt x="1273886" y="893525"/>
                  </a:cubicBezTo>
                  <a:lnTo>
                    <a:pt x="1282252" y="870264"/>
                  </a:lnTo>
                  <a:lnTo>
                    <a:pt x="1286027" y="858735"/>
                  </a:lnTo>
                  <a:cubicBezTo>
                    <a:pt x="1286537" y="857001"/>
                    <a:pt x="1287149" y="854858"/>
                    <a:pt x="1287455" y="853430"/>
                  </a:cubicBezTo>
                  <a:cubicBezTo>
                    <a:pt x="1287761" y="852002"/>
                    <a:pt x="1287455" y="851594"/>
                    <a:pt x="1287455" y="852206"/>
                  </a:cubicBezTo>
                  <a:cubicBezTo>
                    <a:pt x="1287455" y="852818"/>
                    <a:pt x="1287455" y="851083"/>
                    <a:pt x="1287455" y="850471"/>
                  </a:cubicBezTo>
                  <a:cubicBezTo>
                    <a:pt x="1286292" y="834637"/>
                    <a:pt x="1283772" y="818936"/>
                    <a:pt x="1279905" y="803540"/>
                  </a:cubicBezTo>
                  <a:cubicBezTo>
                    <a:pt x="1276130" y="787624"/>
                    <a:pt x="1271641" y="771811"/>
                    <a:pt x="1266642" y="756201"/>
                  </a:cubicBezTo>
                  <a:cubicBezTo>
                    <a:pt x="1247267" y="693589"/>
                    <a:pt x="1217017" y="634874"/>
                    <a:pt x="1177268" y="582761"/>
                  </a:cubicBezTo>
                  <a:cubicBezTo>
                    <a:pt x="1167269" y="570079"/>
                    <a:pt x="1156322" y="558173"/>
                    <a:pt x="1144518" y="547154"/>
                  </a:cubicBezTo>
                  <a:cubicBezTo>
                    <a:pt x="1132948" y="536166"/>
                    <a:pt x="1120338" y="526331"/>
                    <a:pt x="1106871" y="517771"/>
                  </a:cubicBezTo>
                  <a:cubicBezTo>
                    <a:pt x="1093556" y="509354"/>
                    <a:pt x="1079314" y="502509"/>
                    <a:pt x="1064428" y="497367"/>
                  </a:cubicBezTo>
                  <a:cubicBezTo>
                    <a:pt x="1060653" y="496142"/>
                    <a:pt x="1056980" y="494714"/>
                    <a:pt x="1053205" y="493694"/>
                  </a:cubicBezTo>
                  <a:lnTo>
                    <a:pt x="1041779" y="490837"/>
                  </a:lnTo>
                  <a:cubicBezTo>
                    <a:pt x="1034127" y="489001"/>
                    <a:pt x="1025454" y="487368"/>
                    <a:pt x="1017394" y="485634"/>
                  </a:cubicBezTo>
                  <a:cubicBezTo>
                    <a:pt x="951588" y="471555"/>
                    <a:pt x="886395" y="456455"/>
                    <a:pt x="821098" y="441151"/>
                  </a:cubicBezTo>
                  <a:cubicBezTo>
                    <a:pt x="560118" y="379937"/>
                    <a:pt x="299852" y="316172"/>
                    <a:pt x="39586" y="252611"/>
                  </a:cubicBezTo>
                  <a:lnTo>
                    <a:pt x="0" y="242919"/>
                  </a:lnTo>
                  <a:lnTo>
                    <a:pt x="38055" y="227921"/>
                  </a:lnTo>
                  <a:cubicBezTo>
                    <a:pt x="89782" y="207517"/>
                    <a:pt x="142427" y="189356"/>
                    <a:pt x="194664" y="170176"/>
                  </a:cubicBezTo>
                  <a:lnTo>
                    <a:pt x="353007" y="113042"/>
                  </a:lnTo>
                  <a:lnTo>
                    <a:pt x="667346" y="0"/>
                  </a:lnTo>
                  <a:lnTo>
                    <a:pt x="358210" y="126612"/>
                  </a:lnTo>
                  <a:lnTo>
                    <a:pt x="203642" y="189662"/>
                  </a:lnTo>
                  <a:cubicBezTo>
                    <a:pt x="152017" y="210067"/>
                    <a:pt x="100801" y="232308"/>
                    <a:pt x="48666" y="251795"/>
                  </a:cubicBezTo>
                  <a:lnTo>
                    <a:pt x="47136" y="227105"/>
                  </a:lnTo>
                  <a:cubicBezTo>
                    <a:pt x="307096" y="291380"/>
                    <a:pt x="567464" y="354360"/>
                    <a:pt x="828240" y="416054"/>
                  </a:cubicBezTo>
                  <a:cubicBezTo>
                    <a:pt x="893434" y="431255"/>
                    <a:pt x="958628" y="446661"/>
                    <a:pt x="1023924" y="460332"/>
                  </a:cubicBezTo>
                  <a:cubicBezTo>
                    <a:pt x="1032188" y="462066"/>
                    <a:pt x="1039942" y="463597"/>
                    <a:pt x="1048614" y="465637"/>
                  </a:cubicBezTo>
                  <a:lnTo>
                    <a:pt x="1061571" y="468800"/>
                  </a:lnTo>
                  <a:lnTo>
                    <a:pt x="1074222" y="472983"/>
                  </a:lnTo>
                  <a:cubicBezTo>
                    <a:pt x="1090934" y="478829"/>
                    <a:pt x="1106901" y="486634"/>
                    <a:pt x="1121766" y="496244"/>
                  </a:cubicBezTo>
                  <a:cubicBezTo>
                    <a:pt x="1136631" y="505600"/>
                    <a:pt x="1150537" y="516404"/>
                    <a:pt x="1163290" y="528484"/>
                  </a:cubicBezTo>
                  <a:cubicBezTo>
                    <a:pt x="1176023" y="540319"/>
                    <a:pt x="1187786" y="553143"/>
                    <a:pt x="1198489" y="566845"/>
                  </a:cubicBezTo>
                  <a:cubicBezTo>
                    <a:pt x="1240248" y="621377"/>
                    <a:pt x="1271957" y="682907"/>
                    <a:pt x="1292148" y="748549"/>
                  </a:cubicBezTo>
                  <a:cubicBezTo>
                    <a:pt x="1297453" y="764771"/>
                    <a:pt x="1302350" y="781197"/>
                    <a:pt x="1306023" y="797929"/>
                  </a:cubicBezTo>
                  <a:cubicBezTo>
                    <a:pt x="1310319" y="815028"/>
                    <a:pt x="1313084" y="832474"/>
                    <a:pt x="1314287" y="850063"/>
                  </a:cubicBezTo>
                  <a:cubicBezTo>
                    <a:pt x="1314430" y="851553"/>
                    <a:pt x="1314430" y="853063"/>
                    <a:pt x="1314287" y="854552"/>
                  </a:cubicBezTo>
                  <a:cubicBezTo>
                    <a:pt x="1314155" y="856246"/>
                    <a:pt x="1313849" y="857919"/>
                    <a:pt x="1313369" y="859551"/>
                  </a:cubicBezTo>
                  <a:cubicBezTo>
                    <a:pt x="1313369" y="862102"/>
                    <a:pt x="1312145" y="864041"/>
                    <a:pt x="1311533" y="866285"/>
                  </a:cubicBezTo>
                  <a:lnTo>
                    <a:pt x="1307554" y="878732"/>
                  </a:lnTo>
                  <a:cubicBezTo>
                    <a:pt x="1304799" y="886792"/>
                    <a:pt x="1301840" y="894750"/>
                    <a:pt x="1298882" y="902707"/>
                  </a:cubicBezTo>
                  <a:cubicBezTo>
                    <a:pt x="1292964" y="918490"/>
                    <a:pt x="1286771" y="934202"/>
                    <a:pt x="1280313" y="949843"/>
                  </a:cubicBezTo>
                  <a:cubicBezTo>
                    <a:pt x="1267458" y="981062"/>
                    <a:pt x="1253786" y="1011873"/>
                    <a:pt x="1238177" y="1042174"/>
                  </a:cubicBezTo>
                  <a:cubicBezTo>
                    <a:pt x="1230423" y="1057682"/>
                    <a:pt x="1221628" y="1072639"/>
                    <a:pt x="1211854" y="1086963"/>
                  </a:cubicBezTo>
                  <a:cubicBezTo>
                    <a:pt x="1206355" y="1095329"/>
                    <a:pt x="1199448" y="1102675"/>
                    <a:pt x="1191449" y="1108694"/>
                  </a:cubicBezTo>
                  <a:lnTo>
                    <a:pt x="1189613" y="1110020"/>
                  </a:lnTo>
                  <a:lnTo>
                    <a:pt x="1186960" y="1111244"/>
                  </a:lnTo>
                  <a:cubicBezTo>
                    <a:pt x="1185073" y="1112203"/>
                    <a:pt x="1183043" y="1112826"/>
                    <a:pt x="1180941" y="1113081"/>
                  </a:cubicBezTo>
                  <a:cubicBezTo>
                    <a:pt x="1179615" y="1113183"/>
                    <a:pt x="1178288" y="1113183"/>
                    <a:pt x="1176962" y="1113081"/>
                  </a:cubicBezTo>
                  <a:lnTo>
                    <a:pt x="1173799" y="1113081"/>
                  </a:lnTo>
                  <a:lnTo>
                    <a:pt x="1170432" y="1112469"/>
                  </a:lnTo>
                  <a:cubicBezTo>
                    <a:pt x="1165882" y="1111714"/>
                    <a:pt x="1161393" y="1110693"/>
                    <a:pt x="1156965" y="1109408"/>
                  </a:cubicBezTo>
                  <a:cubicBezTo>
                    <a:pt x="1138253" y="1104674"/>
                    <a:pt x="1121276" y="1094737"/>
                    <a:pt x="1107993" y="1080739"/>
                  </a:cubicBezTo>
                  <a:cubicBezTo>
                    <a:pt x="1095250" y="1066742"/>
                    <a:pt x="1086231" y="1049755"/>
                    <a:pt x="1081772" y="1031360"/>
                  </a:cubicBezTo>
                  <a:cubicBezTo>
                    <a:pt x="1074294" y="996957"/>
                    <a:pt x="1073192" y="961484"/>
                    <a:pt x="1078507" y="926683"/>
                  </a:cubicBezTo>
                  <a:cubicBezTo>
                    <a:pt x="1082282" y="892913"/>
                    <a:pt x="1089628" y="859449"/>
                    <a:pt x="1093505" y="827516"/>
                  </a:cubicBezTo>
                  <a:cubicBezTo>
                    <a:pt x="1094393" y="820741"/>
                    <a:pt x="1094393" y="813885"/>
                    <a:pt x="1093505" y="807111"/>
                  </a:cubicBezTo>
                  <a:cubicBezTo>
                    <a:pt x="1093505" y="806193"/>
                    <a:pt x="1092893" y="805581"/>
                    <a:pt x="1093505" y="806397"/>
                  </a:cubicBezTo>
                  <a:cubicBezTo>
                    <a:pt x="1093913" y="806877"/>
                    <a:pt x="1094393" y="807284"/>
                    <a:pt x="1094933" y="807621"/>
                  </a:cubicBezTo>
                  <a:lnTo>
                    <a:pt x="1093607" y="807111"/>
                  </a:lnTo>
                  <a:lnTo>
                    <a:pt x="1081976" y="802520"/>
                  </a:lnTo>
                  <a:cubicBezTo>
                    <a:pt x="1066897" y="796501"/>
                    <a:pt x="1051502" y="791287"/>
                    <a:pt x="1035861" y="786911"/>
                  </a:cubicBezTo>
                  <a:cubicBezTo>
                    <a:pt x="1029495" y="784921"/>
                    <a:pt x="1022833" y="784023"/>
                    <a:pt x="1016170" y="784258"/>
                  </a:cubicBezTo>
                  <a:cubicBezTo>
                    <a:pt x="1013824" y="784768"/>
                    <a:pt x="1016170" y="784258"/>
                    <a:pt x="1016170" y="783748"/>
                  </a:cubicBezTo>
                  <a:cubicBezTo>
                    <a:pt x="1015895" y="785400"/>
                    <a:pt x="1015895" y="787094"/>
                    <a:pt x="1016170" y="788747"/>
                  </a:cubicBezTo>
                  <a:lnTo>
                    <a:pt x="1017190" y="793644"/>
                  </a:lnTo>
                  <a:lnTo>
                    <a:pt x="1018517" y="800990"/>
                  </a:lnTo>
                  <a:cubicBezTo>
                    <a:pt x="1019129" y="805662"/>
                    <a:pt x="1019507" y="810355"/>
                    <a:pt x="1019639" y="815069"/>
                  </a:cubicBezTo>
                  <a:cubicBezTo>
                    <a:pt x="1019700" y="823955"/>
                    <a:pt x="1019292" y="832852"/>
                    <a:pt x="1018414" y="841697"/>
                  </a:cubicBezTo>
                  <a:cubicBezTo>
                    <a:pt x="1014660" y="875712"/>
                    <a:pt x="1008110" y="909359"/>
                    <a:pt x="998826" y="942293"/>
                  </a:cubicBezTo>
                  <a:cubicBezTo>
                    <a:pt x="981778" y="1008231"/>
                    <a:pt x="956771" y="1071853"/>
                    <a:pt x="924348" y="1131751"/>
                  </a:cubicBezTo>
                  <a:cubicBezTo>
                    <a:pt x="907973" y="1163124"/>
                    <a:pt x="885455" y="1190885"/>
                    <a:pt x="858133" y="1213370"/>
                  </a:cubicBezTo>
                  <a:cubicBezTo>
                    <a:pt x="854410" y="1216288"/>
                    <a:pt x="850410" y="1218860"/>
                    <a:pt x="846197" y="1221022"/>
                  </a:cubicBezTo>
                  <a:cubicBezTo>
                    <a:pt x="841962" y="1223491"/>
                    <a:pt x="837484" y="1225511"/>
                    <a:pt x="832831" y="1227042"/>
                  </a:cubicBezTo>
                  <a:cubicBezTo>
                    <a:pt x="828066" y="1228704"/>
                    <a:pt x="823139" y="1229908"/>
                    <a:pt x="818140" y="1230612"/>
                  </a:cubicBezTo>
                  <a:cubicBezTo>
                    <a:pt x="812946" y="1231020"/>
                    <a:pt x="807722" y="1231020"/>
                    <a:pt x="802530" y="1230612"/>
                  </a:cubicBezTo>
                  <a:cubicBezTo>
                    <a:pt x="792082" y="1229490"/>
                    <a:pt x="782033" y="1226001"/>
                    <a:pt x="773146" y="1220410"/>
                  </a:cubicBezTo>
                  <a:cubicBezTo>
                    <a:pt x="764301" y="1213911"/>
                    <a:pt x="757588" y="1204923"/>
                    <a:pt x="753863" y="1194598"/>
                  </a:cubicBezTo>
                  <a:cubicBezTo>
                    <a:pt x="748242" y="1176621"/>
                    <a:pt x="746844" y="1157594"/>
                    <a:pt x="749783" y="1138995"/>
                  </a:cubicBezTo>
                  <a:cubicBezTo>
                    <a:pt x="751925" y="1121804"/>
                    <a:pt x="755159" y="1104766"/>
                    <a:pt x="759475" y="1087983"/>
                  </a:cubicBezTo>
                  <a:cubicBezTo>
                    <a:pt x="767637" y="1054927"/>
                    <a:pt x="777840" y="1022892"/>
                    <a:pt x="786818" y="990856"/>
                  </a:cubicBezTo>
                  <a:cubicBezTo>
                    <a:pt x="791307" y="974941"/>
                    <a:pt x="795592" y="958923"/>
                    <a:pt x="798857" y="943109"/>
                  </a:cubicBezTo>
                  <a:cubicBezTo>
                    <a:pt x="802417" y="927907"/>
                    <a:pt x="803999" y="912298"/>
                    <a:pt x="803550" y="896688"/>
                  </a:cubicBezTo>
                  <a:cubicBezTo>
                    <a:pt x="802988" y="889312"/>
                    <a:pt x="801622" y="882027"/>
                    <a:pt x="799469" y="874957"/>
                  </a:cubicBezTo>
                  <a:cubicBezTo>
                    <a:pt x="797224" y="868040"/>
                    <a:pt x="794143" y="861429"/>
                    <a:pt x="790286" y="855266"/>
                  </a:cubicBezTo>
                  <a:cubicBezTo>
                    <a:pt x="786369" y="849206"/>
                    <a:pt x="781666" y="843677"/>
                    <a:pt x="776309" y="838841"/>
                  </a:cubicBezTo>
                  <a:cubicBezTo>
                    <a:pt x="771249" y="834229"/>
                    <a:pt x="765545" y="830383"/>
                    <a:pt x="759373" y="827414"/>
                  </a:cubicBezTo>
                  <a:lnTo>
                    <a:pt x="775901" y="820272"/>
                  </a:lnTo>
                  <a:cubicBezTo>
                    <a:pt x="759271" y="861082"/>
                    <a:pt x="741824" y="901891"/>
                    <a:pt x="723460" y="942701"/>
                  </a:cubicBezTo>
                  <a:cubicBezTo>
                    <a:pt x="714176" y="963106"/>
                    <a:pt x="704586" y="982898"/>
                    <a:pt x="694485" y="1002793"/>
                  </a:cubicBezTo>
                  <a:cubicBezTo>
                    <a:pt x="684609" y="1023218"/>
                    <a:pt x="673182" y="1042868"/>
                    <a:pt x="660307" y="1061559"/>
                  </a:cubicBezTo>
                  <a:cubicBezTo>
                    <a:pt x="647013" y="1080872"/>
                    <a:pt x="630883" y="1098073"/>
                    <a:pt x="612457" y="1112571"/>
                  </a:cubicBezTo>
                  <a:cubicBezTo>
                    <a:pt x="592980" y="1128640"/>
                    <a:pt x="568535" y="1137434"/>
                    <a:pt x="543284" y="1137465"/>
                  </a:cubicBezTo>
                  <a:cubicBezTo>
                    <a:pt x="529368" y="1136903"/>
                    <a:pt x="516084" y="1131486"/>
                    <a:pt x="505738" y="1122161"/>
                  </a:cubicBezTo>
                  <a:cubicBezTo>
                    <a:pt x="495801" y="1112959"/>
                    <a:pt x="489109" y="1100787"/>
                    <a:pt x="486660" y="1087473"/>
                  </a:cubicBezTo>
                  <a:cubicBezTo>
                    <a:pt x="482763" y="1063558"/>
                    <a:pt x="485619" y="1039042"/>
                    <a:pt x="494924" y="1016668"/>
                  </a:cubicBezTo>
                  <a:lnTo>
                    <a:pt x="494924" y="1017280"/>
                  </a:lnTo>
                  <a:lnTo>
                    <a:pt x="550324" y="828230"/>
                  </a:lnTo>
                  <a:lnTo>
                    <a:pt x="553487" y="835066"/>
                  </a:lnTo>
                  <a:cubicBezTo>
                    <a:pt x="474927" y="794797"/>
                    <a:pt x="396775" y="754263"/>
                    <a:pt x="319032" y="713453"/>
                  </a:cubicBezTo>
                  <a:close/>
                </a:path>
              </a:pathLst>
            </a:custGeom>
            <a:solidFill>
              <a:srgbClr val="EDCFC5"/>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3" name="Frihåndsform: figur 22">
              <a:extLst>
                <a:ext uri="{FF2B5EF4-FFF2-40B4-BE49-F238E27FC236}">
                  <a16:creationId xmlns:a16="http://schemas.microsoft.com/office/drawing/2014/main" id="{83FE50A8-D4EA-DA67-624D-0B94050DB35A}"/>
                </a:ext>
              </a:extLst>
            </p:cNvPr>
            <p:cNvSpPr/>
            <p:nvPr/>
          </p:nvSpPr>
          <p:spPr>
            <a:xfrm>
              <a:off x="5786761" y="2896805"/>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4" name="Frihåndsform: figur 23">
              <a:extLst>
                <a:ext uri="{FF2B5EF4-FFF2-40B4-BE49-F238E27FC236}">
                  <a16:creationId xmlns:a16="http://schemas.microsoft.com/office/drawing/2014/main" id="{2588D870-C391-326D-2DCA-073D3E181E41}"/>
                </a:ext>
              </a:extLst>
            </p:cNvPr>
            <p:cNvSpPr/>
            <p:nvPr/>
          </p:nvSpPr>
          <p:spPr>
            <a:xfrm>
              <a:off x="5876646" y="2851915"/>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5" name="Frihåndsform: figur 24">
              <a:extLst>
                <a:ext uri="{FF2B5EF4-FFF2-40B4-BE49-F238E27FC236}">
                  <a16:creationId xmlns:a16="http://schemas.microsoft.com/office/drawing/2014/main" id="{15E5BA40-7B26-454E-8995-A1EFF817DB13}"/>
                </a:ext>
              </a:extLst>
            </p:cNvPr>
            <p:cNvSpPr/>
            <p:nvPr/>
          </p:nvSpPr>
          <p:spPr>
            <a:xfrm>
              <a:off x="5997443" y="2753564"/>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6" name="Frihåndsform: figur 25">
              <a:extLst>
                <a:ext uri="{FF2B5EF4-FFF2-40B4-BE49-F238E27FC236}">
                  <a16:creationId xmlns:a16="http://schemas.microsoft.com/office/drawing/2014/main" id="{A7162EBC-6098-9E61-BBD1-DB59A8D8AC46}"/>
                </a:ext>
              </a:extLst>
            </p:cNvPr>
            <p:cNvSpPr/>
            <p:nvPr/>
          </p:nvSpPr>
          <p:spPr>
            <a:xfrm>
              <a:off x="5946941" y="2809779"/>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7" name="Frihåndsform: figur 26">
              <a:extLst>
                <a:ext uri="{FF2B5EF4-FFF2-40B4-BE49-F238E27FC236}">
                  <a16:creationId xmlns:a16="http://schemas.microsoft.com/office/drawing/2014/main" id="{176530C8-3D1D-7D69-63E5-CD170792CE97}"/>
                </a:ext>
              </a:extLst>
            </p:cNvPr>
            <p:cNvSpPr/>
            <p:nvPr/>
          </p:nvSpPr>
          <p:spPr>
            <a:xfrm>
              <a:off x="5865423" y="2719896"/>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8" name="Frihåndsform: figur 27">
              <a:extLst>
                <a:ext uri="{FF2B5EF4-FFF2-40B4-BE49-F238E27FC236}">
                  <a16:creationId xmlns:a16="http://schemas.microsoft.com/office/drawing/2014/main" id="{9121B317-4C2E-36CD-54C9-99933E43367A}"/>
                </a:ext>
              </a:extLst>
            </p:cNvPr>
            <p:cNvSpPr/>
            <p:nvPr/>
          </p:nvSpPr>
          <p:spPr>
            <a:xfrm>
              <a:off x="5944084" y="2644092"/>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29" name="Frihåndsform: figur 28">
              <a:extLst>
                <a:ext uri="{FF2B5EF4-FFF2-40B4-BE49-F238E27FC236}">
                  <a16:creationId xmlns:a16="http://schemas.microsoft.com/office/drawing/2014/main" id="{920B6B1E-66B3-EE2D-4167-CE84E065F230}"/>
                </a:ext>
              </a:extLst>
            </p:cNvPr>
            <p:cNvSpPr/>
            <p:nvPr/>
          </p:nvSpPr>
          <p:spPr>
            <a:xfrm>
              <a:off x="5837672" y="2616545"/>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0" name="Frihåndsform: figur 29">
              <a:extLst>
                <a:ext uri="{FF2B5EF4-FFF2-40B4-BE49-F238E27FC236}">
                  <a16:creationId xmlns:a16="http://schemas.microsoft.com/office/drawing/2014/main" id="{238BFA7A-1716-BAE3-73A1-199241EB9EEC}"/>
                </a:ext>
              </a:extLst>
            </p:cNvPr>
            <p:cNvSpPr/>
            <p:nvPr/>
          </p:nvSpPr>
          <p:spPr>
            <a:xfrm>
              <a:off x="5354889" y="2675311"/>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1" name="Frihåndsform: figur 30">
              <a:extLst>
                <a:ext uri="{FF2B5EF4-FFF2-40B4-BE49-F238E27FC236}">
                  <a16:creationId xmlns:a16="http://schemas.microsoft.com/office/drawing/2014/main" id="{8F60A700-5A83-34AF-22A1-43AAAD7C053F}"/>
                </a:ext>
              </a:extLst>
            </p:cNvPr>
            <p:cNvSpPr/>
            <p:nvPr/>
          </p:nvSpPr>
          <p:spPr>
            <a:xfrm>
              <a:off x="5183793" y="2604405"/>
              <a:ext cx="109574" cy="109573"/>
            </a:xfrm>
            <a:custGeom>
              <a:avLst/>
              <a:gdLst>
                <a:gd name="connsiteX0" fmla="*/ 109575 w 109574"/>
                <a:gd name="connsiteY0" fmla="*/ 54787 h 109573"/>
                <a:gd name="connsiteX1" fmla="*/ 54788 w 109574"/>
                <a:gd name="connsiteY1" fmla="*/ 109574 h 109573"/>
                <a:gd name="connsiteX2" fmla="*/ 0 w 109574"/>
                <a:gd name="connsiteY2" fmla="*/ 54787 h 109573"/>
                <a:gd name="connsiteX3" fmla="*/ 54788 w 109574"/>
                <a:gd name="connsiteY3" fmla="*/ 0 h 109573"/>
                <a:gd name="connsiteX4" fmla="*/ 109575 w 109574"/>
                <a:gd name="connsiteY4" fmla="*/ 54787 h 10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74" h="109573">
                  <a:moveTo>
                    <a:pt x="109575" y="54787"/>
                  </a:moveTo>
                  <a:cubicBezTo>
                    <a:pt x="109575" y="85045"/>
                    <a:pt x="85046" y="109574"/>
                    <a:pt x="54788" y="109574"/>
                  </a:cubicBezTo>
                  <a:cubicBezTo>
                    <a:pt x="24530" y="109574"/>
                    <a:pt x="0" y="85045"/>
                    <a:pt x="0" y="54787"/>
                  </a:cubicBezTo>
                  <a:cubicBezTo>
                    <a:pt x="0" y="24529"/>
                    <a:pt x="24530" y="0"/>
                    <a:pt x="54788" y="0"/>
                  </a:cubicBezTo>
                  <a:cubicBezTo>
                    <a:pt x="85046" y="0"/>
                    <a:pt x="109575" y="24529"/>
                    <a:pt x="109575" y="54787"/>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2" name="Frihåndsform: figur 31">
              <a:extLst>
                <a:ext uri="{FF2B5EF4-FFF2-40B4-BE49-F238E27FC236}">
                  <a16:creationId xmlns:a16="http://schemas.microsoft.com/office/drawing/2014/main" id="{DD33EA6B-650D-DD9D-1BC5-94A68E27C62A}"/>
                </a:ext>
              </a:extLst>
            </p:cNvPr>
            <p:cNvSpPr/>
            <p:nvPr/>
          </p:nvSpPr>
          <p:spPr>
            <a:xfrm>
              <a:off x="5520476" y="2490240"/>
              <a:ext cx="284445" cy="284442"/>
            </a:xfrm>
            <a:custGeom>
              <a:avLst/>
              <a:gdLst>
                <a:gd name="connsiteX0" fmla="*/ 284446 w 284445"/>
                <a:gd name="connsiteY0" fmla="*/ 142221 h 284442"/>
                <a:gd name="connsiteX1" fmla="*/ 142223 w 284445"/>
                <a:gd name="connsiteY1" fmla="*/ 284443 h 284442"/>
                <a:gd name="connsiteX2" fmla="*/ 0 w 284445"/>
                <a:gd name="connsiteY2" fmla="*/ 142221 h 284442"/>
                <a:gd name="connsiteX3" fmla="*/ 142223 w 284445"/>
                <a:gd name="connsiteY3" fmla="*/ 0 h 284442"/>
                <a:gd name="connsiteX4" fmla="*/ 284446 w 284445"/>
                <a:gd name="connsiteY4" fmla="*/ 142221 h 284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445" h="284442">
                  <a:moveTo>
                    <a:pt x="284446" y="142221"/>
                  </a:moveTo>
                  <a:cubicBezTo>
                    <a:pt x="284446" y="220768"/>
                    <a:pt x="220770" y="284443"/>
                    <a:pt x="142223" y="284443"/>
                  </a:cubicBezTo>
                  <a:cubicBezTo>
                    <a:pt x="63675" y="284443"/>
                    <a:pt x="0" y="220768"/>
                    <a:pt x="0" y="142221"/>
                  </a:cubicBezTo>
                  <a:cubicBezTo>
                    <a:pt x="0" y="63674"/>
                    <a:pt x="63675" y="0"/>
                    <a:pt x="142223" y="0"/>
                  </a:cubicBezTo>
                  <a:cubicBezTo>
                    <a:pt x="220770" y="0"/>
                    <a:pt x="284446" y="63674"/>
                    <a:pt x="284446" y="142221"/>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3" name="Frihåndsform: figur 32">
              <a:extLst>
                <a:ext uri="{FF2B5EF4-FFF2-40B4-BE49-F238E27FC236}">
                  <a16:creationId xmlns:a16="http://schemas.microsoft.com/office/drawing/2014/main" id="{9F4131A7-CF13-C0A2-BD36-A0A53A585DDB}"/>
                </a:ext>
              </a:extLst>
            </p:cNvPr>
            <p:cNvSpPr/>
            <p:nvPr/>
          </p:nvSpPr>
          <p:spPr>
            <a:xfrm>
              <a:off x="5733402" y="2554209"/>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4" name="Frihåndsform: figur 33">
              <a:extLst>
                <a:ext uri="{FF2B5EF4-FFF2-40B4-BE49-F238E27FC236}">
                  <a16:creationId xmlns:a16="http://schemas.microsoft.com/office/drawing/2014/main" id="{787CABB6-037D-7846-3B9F-68F00EB338A5}"/>
                </a:ext>
              </a:extLst>
            </p:cNvPr>
            <p:cNvSpPr/>
            <p:nvPr/>
          </p:nvSpPr>
          <p:spPr>
            <a:xfrm>
              <a:off x="5601382" y="2891194"/>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5" name="Frihåndsform: figur 34">
              <a:extLst>
                <a:ext uri="{FF2B5EF4-FFF2-40B4-BE49-F238E27FC236}">
                  <a16:creationId xmlns:a16="http://schemas.microsoft.com/office/drawing/2014/main" id="{5029595A-7670-9BE8-2A7D-664E4C52CBA3}"/>
                </a:ext>
              </a:extLst>
            </p:cNvPr>
            <p:cNvSpPr/>
            <p:nvPr/>
          </p:nvSpPr>
          <p:spPr>
            <a:xfrm>
              <a:off x="5760541" y="2831306"/>
              <a:ext cx="91822" cy="91821"/>
            </a:xfrm>
            <a:custGeom>
              <a:avLst/>
              <a:gdLst>
                <a:gd name="connsiteX0" fmla="*/ 91823 w 91822"/>
                <a:gd name="connsiteY0" fmla="*/ 45911 h 91821"/>
                <a:gd name="connsiteX1" fmla="*/ 45911 w 91822"/>
                <a:gd name="connsiteY1" fmla="*/ 91822 h 91821"/>
                <a:gd name="connsiteX2" fmla="*/ 0 w 91822"/>
                <a:gd name="connsiteY2" fmla="*/ 45911 h 91821"/>
                <a:gd name="connsiteX3" fmla="*/ 45911 w 91822"/>
                <a:gd name="connsiteY3" fmla="*/ 0 h 91821"/>
                <a:gd name="connsiteX4" fmla="*/ 91823 w 91822"/>
                <a:gd name="connsiteY4" fmla="*/ 45911 h 91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2" h="91821">
                  <a:moveTo>
                    <a:pt x="91823" y="45911"/>
                  </a:moveTo>
                  <a:cubicBezTo>
                    <a:pt x="91823" y="71267"/>
                    <a:pt x="71267" y="91822"/>
                    <a:pt x="45911" y="91822"/>
                  </a:cubicBezTo>
                  <a:cubicBezTo>
                    <a:pt x="20555" y="91822"/>
                    <a:pt x="0" y="71267"/>
                    <a:pt x="0" y="45911"/>
                  </a:cubicBezTo>
                  <a:cubicBezTo>
                    <a:pt x="0" y="20555"/>
                    <a:pt x="20555" y="0"/>
                    <a:pt x="45911" y="0"/>
                  </a:cubicBezTo>
                  <a:cubicBezTo>
                    <a:pt x="71267" y="0"/>
                    <a:pt x="91823" y="20555"/>
                    <a:pt x="91823" y="45911"/>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6" name="Frihåndsform: figur 35">
              <a:extLst>
                <a:ext uri="{FF2B5EF4-FFF2-40B4-BE49-F238E27FC236}">
                  <a16:creationId xmlns:a16="http://schemas.microsoft.com/office/drawing/2014/main" id="{5E91C88F-527C-BE55-E07E-8C6BD45FC85D}"/>
                </a:ext>
              </a:extLst>
            </p:cNvPr>
            <p:cNvSpPr/>
            <p:nvPr/>
          </p:nvSpPr>
          <p:spPr>
            <a:xfrm>
              <a:off x="5659536" y="2853955"/>
              <a:ext cx="91822" cy="91821"/>
            </a:xfrm>
            <a:custGeom>
              <a:avLst/>
              <a:gdLst>
                <a:gd name="connsiteX0" fmla="*/ 91822 w 91822"/>
                <a:gd name="connsiteY0" fmla="*/ 45911 h 91821"/>
                <a:gd name="connsiteX1" fmla="*/ 45911 w 91822"/>
                <a:gd name="connsiteY1" fmla="*/ 91822 h 91821"/>
                <a:gd name="connsiteX2" fmla="*/ 0 w 91822"/>
                <a:gd name="connsiteY2" fmla="*/ 45911 h 91821"/>
                <a:gd name="connsiteX3" fmla="*/ 45911 w 91822"/>
                <a:gd name="connsiteY3" fmla="*/ 0 h 91821"/>
                <a:gd name="connsiteX4" fmla="*/ 91822 w 91822"/>
                <a:gd name="connsiteY4" fmla="*/ 45911 h 91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2" h="91821">
                  <a:moveTo>
                    <a:pt x="91822" y="45911"/>
                  </a:moveTo>
                  <a:cubicBezTo>
                    <a:pt x="91822" y="71267"/>
                    <a:pt x="71267" y="91822"/>
                    <a:pt x="45911" y="91822"/>
                  </a:cubicBezTo>
                  <a:cubicBezTo>
                    <a:pt x="20555" y="91822"/>
                    <a:pt x="0" y="71267"/>
                    <a:pt x="0" y="45911"/>
                  </a:cubicBezTo>
                  <a:cubicBezTo>
                    <a:pt x="0" y="20555"/>
                    <a:pt x="20555" y="0"/>
                    <a:pt x="45911" y="0"/>
                  </a:cubicBezTo>
                  <a:cubicBezTo>
                    <a:pt x="71267" y="0"/>
                    <a:pt x="91822" y="20555"/>
                    <a:pt x="91822" y="45911"/>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7" name="Frihåndsform: figur 36">
              <a:extLst>
                <a:ext uri="{FF2B5EF4-FFF2-40B4-BE49-F238E27FC236}">
                  <a16:creationId xmlns:a16="http://schemas.microsoft.com/office/drawing/2014/main" id="{DDC97EEF-1FC9-CCBE-0054-C56ECB240C12}"/>
                </a:ext>
              </a:extLst>
            </p:cNvPr>
            <p:cNvSpPr/>
            <p:nvPr/>
          </p:nvSpPr>
          <p:spPr>
            <a:xfrm>
              <a:off x="5620256" y="2794985"/>
              <a:ext cx="91822" cy="91821"/>
            </a:xfrm>
            <a:custGeom>
              <a:avLst/>
              <a:gdLst>
                <a:gd name="connsiteX0" fmla="*/ 91823 w 91822"/>
                <a:gd name="connsiteY0" fmla="*/ 45911 h 91821"/>
                <a:gd name="connsiteX1" fmla="*/ 45911 w 91822"/>
                <a:gd name="connsiteY1" fmla="*/ 91822 h 91821"/>
                <a:gd name="connsiteX2" fmla="*/ 0 w 91822"/>
                <a:gd name="connsiteY2" fmla="*/ 45911 h 91821"/>
                <a:gd name="connsiteX3" fmla="*/ 45911 w 91822"/>
                <a:gd name="connsiteY3" fmla="*/ 0 h 91821"/>
                <a:gd name="connsiteX4" fmla="*/ 91823 w 91822"/>
                <a:gd name="connsiteY4" fmla="*/ 45911 h 91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2" h="91821">
                  <a:moveTo>
                    <a:pt x="91823" y="45911"/>
                  </a:moveTo>
                  <a:cubicBezTo>
                    <a:pt x="91823" y="71267"/>
                    <a:pt x="71267" y="91822"/>
                    <a:pt x="45911" y="91822"/>
                  </a:cubicBezTo>
                  <a:cubicBezTo>
                    <a:pt x="20555" y="91822"/>
                    <a:pt x="0" y="71267"/>
                    <a:pt x="0" y="45911"/>
                  </a:cubicBezTo>
                  <a:cubicBezTo>
                    <a:pt x="0" y="20555"/>
                    <a:pt x="20555" y="0"/>
                    <a:pt x="45911" y="0"/>
                  </a:cubicBezTo>
                  <a:cubicBezTo>
                    <a:pt x="71267" y="0"/>
                    <a:pt x="91823" y="20555"/>
                    <a:pt x="91823" y="45911"/>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8" name="Frihåndsform: figur 37">
              <a:extLst>
                <a:ext uri="{FF2B5EF4-FFF2-40B4-BE49-F238E27FC236}">
                  <a16:creationId xmlns:a16="http://schemas.microsoft.com/office/drawing/2014/main" id="{B253290E-CADE-D1E0-3FCE-3772E97FC0C5}"/>
                </a:ext>
              </a:extLst>
            </p:cNvPr>
            <p:cNvSpPr/>
            <p:nvPr/>
          </p:nvSpPr>
          <p:spPr>
            <a:xfrm>
              <a:off x="5601586" y="2853139"/>
              <a:ext cx="91822" cy="91821"/>
            </a:xfrm>
            <a:custGeom>
              <a:avLst/>
              <a:gdLst>
                <a:gd name="connsiteX0" fmla="*/ 91822 w 91822"/>
                <a:gd name="connsiteY0" fmla="*/ 45911 h 91821"/>
                <a:gd name="connsiteX1" fmla="*/ 45911 w 91822"/>
                <a:gd name="connsiteY1" fmla="*/ 91821 h 91821"/>
                <a:gd name="connsiteX2" fmla="*/ 0 w 91822"/>
                <a:gd name="connsiteY2" fmla="*/ 45911 h 91821"/>
                <a:gd name="connsiteX3" fmla="*/ 45911 w 91822"/>
                <a:gd name="connsiteY3" fmla="*/ 0 h 91821"/>
                <a:gd name="connsiteX4" fmla="*/ 91822 w 91822"/>
                <a:gd name="connsiteY4" fmla="*/ 45911 h 91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2" h="91821">
                  <a:moveTo>
                    <a:pt x="91822" y="45911"/>
                  </a:moveTo>
                  <a:cubicBezTo>
                    <a:pt x="91822" y="71267"/>
                    <a:pt x="71267" y="91821"/>
                    <a:pt x="45911" y="91821"/>
                  </a:cubicBezTo>
                  <a:cubicBezTo>
                    <a:pt x="20555" y="91821"/>
                    <a:pt x="0" y="71267"/>
                    <a:pt x="0" y="45911"/>
                  </a:cubicBezTo>
                  <a:cubicBezTo>
                    <a:pt x="0" y="20555"/>
                    <a:pt x="20555" y="0"/>
                    <a:pt x="45911" y="0"/>
                  </a:cubicBezTo>
                  <a:cubicBezTo>
                    <a:pt x="71267" y="0"/>
                    <a:pt x="91822" y="20555"/>
                    <a:pt x="91822" y="45911"/>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39" name="Frihåndsform: figur 38">
              <a:extLst>
                <a:ext uri="{FF2B5EF4-FFF2-40B4-BE49-F238E27FC236}">
                  <a16:creationId xmlns:a16="http://schemas.microsoft.com/office/drawing/2014/main" id="{A28F8D55-3A3C-B338-58D7-4C97DD461DCF}"/>
                </a:ext>
              </a:extLst>
            </p:cNvPr>
            <p:cNvSpPr/>
            <p:nvPr/>
          </p:nvSpPr>
          <p:spPr>
            <a:xfrm>
              <a:off x="5698612" y="2781926"/>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0" name="Frihåndsform: figur 39">
              <a:extLst>
                <a:ext uri="{FF2B5EF4-FFF2-40B4-BE49-F238E27FC236}">
                  <a16:creationId xmlns:a16="http://schemas.microsoft.com/office/drawing/2014/main" id="{48849BCC-1A4F-F4D5-EDD6-28A01E193317}"/>
                </a:ext>
              </a:extLst>
            </p:cNvPr>
            <p:cNvSpPr/>
            <p:nvPr/>
          </p:nvSpPr>
          <p:spPr>
            <a:xfrm>
              <a:off x="5586282" y="2683677"/>
              <a:ext cx="132428" cy="132427"/>
            </a:xfrm>
            <a:custGeom>
              <a:avLst/>
              <a:gdLst>
                <a:gd name="connsiteX0" fmla="*/ 132429 w 132428"/>
                <a:gd name="connsiteY0" fmla="*/ 66213 h 132427"/>
                <a:gd name="connsiteX1" fmla="*/ 66215 w 132428"/>
                <a:gd name="connsiteY1" fmla="*/ 132427 h 132427"/>
                <a:gd name="connsiteX2" fmla="*/ 0 w 132428"/>
                <a:gd name="connsiteY2" fmla="*/ 66213 h 132427"/>
                <a:gd name="connsiteX3" fmla="*/ 66215 w 132428"/>
                <a:gd name="connsiteY3" fmla="*/ 0 h 132427"/>
                <a:gd name="connsiteX4" fmla="*/ 132429 w 132428"/>
                <a:gd name="connsiteY4" fmla="*/ 66213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3"/>
                  </a:moveTo>
                  <a:cubicBezTo>
                    <a:pt x="132429" y="102782"/>
                    <a:pt x="102783" y="132427"/>
                    <a:pt x="66215" y="132427"/>
                  </a:cubicBezTo>
                  <a:cubicBezTo>
                    <a:pt x="29645" y="132427"/>
                    <a:pt x="0" y="102782"/>
                    <a:pt x="0" y="66213"/>
                  </a:cubicBezTo>
                  <a:cubicBezTo>
                    <a:pt x="0" y="29645"/>
                    <a:pt x="29646" y="0"/>
                    <a:pt x="66215" y="0"/>
                  </a:cubicBezTo>
                  <a:cubicBezTo>
                    <a:pt x="102784" y="0"/>
                    <a:pt x="132429" y="29645"/>
                    <a:pt x="132429" y="6621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1" name="Frihåndsform: figur 40">
              <a:extLst>
                <a:ext uri="{FF2B5EF4-FFF2-40B4-BE49-F238E27FC236}">
                  <a16:creationId xmlns:a16="http://schemas.microsoft.com/office/drawing/2014/main" id="{EB83E642-676D-1F5B-C84A-615AD4AE6121}"/>
                </a:ext>
              </a:extLst>
            </p:cNvPr>
            <p:cNvSpPr/>
            <p:nvPr/>
          </p:nvSpPr>
          <p:spPr>
            <a:xfrm>
              <a:off x="5484257" y="2666231"/>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2" name="Frihåndsform: figur 41">
              <a:extLst>
                <a:ext uri="{FF2B5EF4-FFF2-40B4-BE49-F238E27FC236}">
                  <a16:creationId xmlns:a16="http://schemas.microsoft.com/office/drawing/2014/main" id="{467D5CFD-A44F-5F2C-429B-BCAD8C95F922}"/>
                </a:ext>
              </a:extLst>
            </p:cNvPr>
            <p:cNvSpPr/>
            <p:nvPr/>
          </p:nvSpPr>
          <p:spPr>
            <a:xfrm>
              <a:off x="5833897" y="2533702"/>
              <a:ext cx="194051" cy="194049"/>
            </a:xfrm>
            <a:custGeom>
              <a:avLst/>
              <a:gdLst>
                <a:gd name="connsiteX0" fmla="*/ 194052 w 194051"/>
                <a:gd name="connsiteY0" fmla="*/ 97025 h 194049"/>
                <a:gd name="connsiteX1" fmla="*/ 97026 w 194051"/>
                <a:gd name="connsiteY1" fmla="*/ 194050 h 194049"/>
                <a:gd name="connsiteX2" fmla="*/ 0 w 194051"/>
                <a:gd name="connsiteY2" fmla="*/ 97025 h 194049"/>
                <a:gd name="connsiteX3" fmla="*/ 97026 w 194051"/>
                <a:gd name="connsiteY3" fmla="*/ 0 h 194049"/>
                <a:gd name="connsiteX4" fmla="*/ 194052 w 194051"/>
                <a:gd name="connsiteY4" fmla="*/ 97025 h 194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051" h="194049">
                  <a:moveTo>
                    <a:pt x="194052" y="97025"/>
                  </a:moveTo>
                  <a:cubicBezTo>
                    <a:pt x="194052" y="150610"/>
                    <a:pt x="150612" y="194050"/>
                    <a:pt x="97026" y="194050"/>
                  </a:cubicBezTo>
                  <a:cubicBezTo>
                    <a:pt x="43440" y="194050"/>
                    <a:pt x="0" y="150610"/>
                    <a:pt x="0" y="97025"/>
                  </a:cubicBezTo>
                  <a:cubicBezTo>
                    <a:pt x="0" y="43439"/>
                    <a:pt x="43440" y="0"/>
                    <a:pt x="97026" y="0"/>
                  </a:cubicBezTo>
                  <a:cubicBezTo>
                    <a:pt x="150612" y="0"/>
                    <a:pt x="194052" y="43439"/>
                    <a:pt x="194052" y="97025"/>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3" name="Frihåndsform: figur 42">
              <a:extLst>
                <a:ext uri="{FF2B5EF4-FFF2-40B4-BE49-F238E27FC236}">
                  <a16:creationId xmlns:a16="http://schemas.microsoft.com/office/drawing/2014/main" id="{BFF8863C-C338-30A0-42FF-62D117BC9D75}"/>
                </a:ext>
              </a:extLst>
            </p:cNvPr>
            <p:cNvSpPr/>
            <p:nvPr/>
          </p:nvSpPr>
          <p:spPr>
            <a:xfrm>
              <a:off x="5648109" y="2706122"/>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4" name="Frihåndsform: figur 43">
              <a:extLst>
                <a:ext uri="{FF2B5EF4-FFF2-40B4-BE49-F238E27FC236}">
                  <a16:creationId xmlns:a16="http://schemas.microsoft.com/office/drawing/2014/main" id="{2DAC5471-0EC6-1BA1-ABBA-A269B7AAABCE}"/>
                </a:ext>
              </a:extLst>
            </p:cNvPr>
            <p:cNvSpPr/>
            <p:nvPr/>
          </p:nvSpPr>
          <p:spPr>
            <a:xfrm>
              <a:off x="5445181" y="2757338"/>
              <a:ext cx="204866" cy="204864"/>
            </a:xfrm>
            <a:custGeom>
              <a:avLst/>
              <a:gdLst>
                <a:gd name="connsiteX0" fmla="*/ 204866 w 204866"/>
                <a:gd name="connsiteY0" fmla="*/ 102432 h 204864"/>
                <a:gd name="connsiteX1" fmla="*/ 102433 w 204866"/>
                <a:gd name="connsiteY1" fmla="*/ 204864 h 204864"/>
                <a:gd name="connsiteX2" fmla="*/ 0 w 204866"/>
                <a:gd name="connsiteY2" fmla="*/ 102432 h 204864"/>
                <a:gd name="connsiteX3" fmla="*/ 102433 w 204866"/>
                <a:gd name="connsiteY3" fmla="*/ 0 h 204864"/>
                <a:gd name="connsiteX4" fmla="*/ 204866 w 204866"/>
                <a:gd name="connsiteY4" fmla="*/ 102432 h 20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66" h="204864">
                  <a:moveTo>
                    <a:pt x="204866" y="102432"/>
                  </a:moveTo>
                  <a:cubicBezTo>
                    <a:pt x="204866" y="159004"/>
                    <a:pt x="159005" y="204864"/>
                    <a:pt x="102433" y="204864"/>
                  </a:cubicBezTo>
                  <a:cubicBezTo>
                    <a:pt x="45861" y="204864"/>
                    <a:pt x="0" y="159004"/>
                    <a:pt x="0" y="102432"/>
                  </a:cubicBezTo>
                  <a:cubicBezTo>
                    <a:pt x="0" y="45860"/>
                    <a:pt x="45861" y="0"/>
                    <a:pt x="102433" y="0"/>
                  </a:cubicBezTo>
                  <a:cubicBezTo>
                    <a:pt x="159005" y="0"/>
                    <a:pt x="204866" y="45860"/>
                    <a:pt x="204866" y="102432"/>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5" name="Frihåndsform: figur 44">
              <a:extLst>
                <a:ext uri="{FF2B5EF4-FFF2-40B4-BE49-F238E27FC236}">
                  <a16:creationId xmlns:a16="http://schemas.microsoft.com/office/drawing/2014/main" id="{3B0C3FF5-2FA3-ECB0-FFD7-ED6990DCBD04}"/>
                </a:ext>
              </a:extLst>
            </p:cNvPr>
            <p:cNvSpPr/>
            <p:nvPr/>
          </p:nvSpPr>
          <p:spPr>
            <a:xfrm>
              <a:off x="5299081" y="2605935"/>
              <a:ext cx="144467" cy="144465"/>
            </a:xfrm>
            <a:custGeom>
              <a:avLst/>
              <a:gdLst>
                <a:gd name="connsiteX0" fmla="*/ 144467 w 144467"/>
                <a:gd name="connsiteY0" fmla="*/ 72233 h 144465"/>
                <a:gd name="connsiteX1" fmla="*/ 72233 w 144467"/>
                <a:gd name="connsiteY1" fmla="*/ 144466 h 144465"/>
                <a:gd name="connsiteX2" fmla="*/ 0 w 144467"/>
                <a:gd name="connsiteY2" fmla="*/ 72233 h 144465"/>
                <a:gd name="connsiteX3" fmla="*/ 72233 w 144467"/>
                <a:gd name="connsiteY3" fmla="*/ 0 h 144465"/>
                <a:gd name="connsiteX4" fmla="*/ 144467 w 144467"/>
                <a:gd name="connsiteY4" fmla="*/ 72233 h 144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7" h="144465">
                  <a:moveTo>
                    <a:pt x="144467" y="72233"/>
                  </a:moveTo>
                  <a:cubicBezTo>
                    <a:pt x="144467" y="112126"/>
                    <a:pt x="112128" y="144466"/>
                    <a:pt x="72233" y="144466"/>
                  </a:cubicBezTo>
                  <a:cubicBezTo>
                    <a:pt x="32340" y="144466"/>
                    <a:pt x="0" y="112126"/>
                    <a:pt x="0" y="72233"/>
                  </a:cubicBezTo>
                  <a:cubicBezTo>
                    <a:pt x="0" y="32340"/>
                    <a:pt x="32339" y="0"/>
                    <a:pt x="72233" y="0"/>
                  </a:cubicBezTo>
                  <a:cubicBezTo>
                    <a:pt x="112127" y="0"/>
                    <a:pt x="144467" y="32340"/>
                    <a:pt x="144467" y="7223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6" name="Frihåndsform: figur 45">
              <a:extLst>
                <a:ext uri="{FF2B5EF4-FFF2-40B4-BE49-F238E27FC236}">
                  <a16:creationId xmlns:a16="http://schemas.microsoft.com/office/drawing/2014/main" id="{0C9ECE4F-ED73-00BB-67B0-6CF44EB93E80}"/>
                </a:ext>
              </a:extLst>
            </p:cNvPr>
            <p:cNvSpPr/>
            <p:nvPr/>
          </p:nvSpPr>
          <p:spPr>
            <a:xfrm>
              <a:off x="5445079" y="2603078"/>
              <a:ext cx="144467" cy="144465"/>
            </a:xfrm>
            <a:custGeom>
              <a:avLst/>
              <a:gdLst>
                <a:gd name="connsiteX0" fmla="*/ 144467 w 144467"/>
                <a:gd name="connsiteY0" fmla="*/ 72233 h 144465"/>
                <a:gd name="connsiteX1" fmla="*/ 72233 w 144467"/>
                <a:gd name="connsiteY1" fmla="*/ 144466 h 144465"/>
                <a:gd name="connsiteX2" fmla="*/ 0 w 144467"/>
                <a:gd name="connsiteY2" fmla="*/ 72233 h 144465"/>
                <a:gd name="connsiteX3" fmla="*/ 72233 w 144467"/>
                <a:gd name="connsiteY3" fmla="*/ 0 h 144465"/>
                <a:gd name="connsiteX4" fmla="*/ 144467 w 144467"/>
                <a:gd name="connsiteY4" fmla="*/ 72233 h 144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7" h="144465">
                  <a:moveTo>
                    <a:pt x="144467" y="72233"/>
                  </a:moveTo>
                  <a:cubicBezTo>
                    <a:pt x="144467" y="112126"/>
                    <a:pt x="112127" y="144466"/>
                    <a:pt x="72233" y="144466"/>
                  </a:cubicBezTo>
                  <a:cubicBezTo>
                    <a:pt x="32340" y="144466"/>
                    <a:pt x="0" y="112126"/>
                    <a:pt x="0" y="72233"/>
                  </a:cubicBezTo>
                  <a:cubicBezTo>
                    <a:pt x="0" y="32340"/>
                    <a:pt x="32339" y="0"/>
                    <a:pt x="72233" y="0"/>
                  </a:cubicBezTo>
                  <a:cubicBezTo>
                    <a:pt x="112127" y="0"/>
                    <a:pt x="144467" y="32340"/>
                    <a:pt x="144467" y="7223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7" name="Frihåndsform: figur 46">
              <a:extLst>
                <a:ext uri="{FF2B5EF4-FFF2-40B4-BE49-F238E27FC236}">
                  <a16:creationId xmlns:a16="http://schemas.microsoft.com/office/drawing/2014/main" id="{5FC5ABED-9EB6-60A3-051D-751DA307584E}"/>
                </a:ext>
              </a:extLst>
            </p:cNvPr>
            <p:cNvSpPr/>
            <p:nvPr/>
          </p:nvSpPr>
          <p:spPr>
            <a:xfrm>
              <a:off x="5749216" y="2703266"/>
              <a:ext cx="132428" cy="132427"/>
            </a:xfrm>
            <a:custGeom>
              <a:avLst/>
              <a:gdLst>
                <a:gd name="connsiteX0" fmla="*/ 132428 w 132428"/>
                <a:gd name="connsiteY0" fmla="*/ 66214 h 132427"/>
                <a:gd name="connsiteX1" fmla="*/ 66214 w 132428"/>
                <a:gd name="connsiteY1" fmla="*/ 132427 h 132427"/>
                <a:gd name="connsiteX2" fmla="*/ 0 w 132428"/>
                <a:gd name="connsiteY2" fmla="*/ 66214 h 132427"/>
                <a:gd name="connsiteX3" fmla="*/ 66214 w 132428"/>
                <a:gd name="connsiteY3" fmla="*/ 0 h 132427"/>
                <a:gd name="connsiteX4" fmla="*/ 132428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8" y="66214"/>
                  </a:moveTo>
                  <a:cubicBezTo>
                    <a:pt x="132428" y="102782"/>
                    <a:pt x="102783" y="132427"/>
                    <a:pt x="66214" y="132427"/>
                  </a:cubicBezTo>
                  <a:cubicBezTo>
                    <a:pt x="29645" y="132427"/>
                    <a:pt x="0" y="102782"/>
                    <a:pt x="0" y="66214"/>
                  </a:cubicBezTo>
                  <a:cubicBezTo>
                    <a:pt x="0" y="29645"/>
                    <a:pt x="29646" y="0"/>
                    <a:pt x="66214" y="0"/>
                  </a:cubicBezTo>
                  <a:cubicBezTo>
                    <a:pt x="102784" y="0"/>
                    <a:pt x="132428" y="29645"/>
                    <a:pt x="132428"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8" name="Frihåndsform: figur 47">
              <a:extLst>
                <a:ext uri="{FF2B5EF4-FFF2-40B4-BE49-F238E27FC236}">
                  <a16:creationId xmlns:a16="http://schemas.microsoft.com/office/drawing/2014/main" id="{BD37D19C-8500-774E-0692-7C389866A90D}"/>
                </a:ext>
              </a:extLst>
            </p:cNvPr>
            <p:cNvSpPr/>
            <p:nvPr/>
          </p:nvSpPr>
          <p:spPr>
            <a:xfrm>
              <a:off x="5724934" y="2633992"/>
              <a:ext cx="132428" cy="132427"/>
            </a:xfrm>
            <a:custGeom>
              <a:avLst/>
              <a:gdLst>
                <a:gd name="connsiteX0" fmla="*/ 132428 w 132428"/>
                <a:gd name="connsiteY0" fmla="*/ 66214 h 132427"/>
                <a:gd name="connsiteX1" fmla="*/ 66214 w 132428"/>
                <a:gd name="connsiteY1" fmla="*/ 132427 h 132427"/>
                <a:gd name="connsiteX2" fmla="*/ 0 w 132428"/>
                <a:gd name="connsiteY2" fmla="*/ 66214 h 132427"/>
                <a:gd name="connsiteX3" fmla="*/ 66214 w 132428"/>
                <a:gd name="connsiteY3" fmla="*/ 0 h 132427"/>
                <a:gd name="connsiteX4" fmla="*/ 132428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8" y="66214"/>
                  </a:moveTo>
                  <a:cubicBezTo>
                    <a:pt x="132428" y="102782"/>
                    <a:pt x="102783" y="132427"/>
                    <a:pt x="66214" y="132427"/>
                  </a:cubicBezTo>
                  <a:cubicBezTo>
                    <a:pt x="29645" y="132427"/>
                    <a:pt x="0" y="102782"/>
                    <a:pt x="0" y="66214"/>
                  </a:cubicBezTo>
                  <a:cubicBezTo>
                    <a:pt x="0" y="29645"/>
                    <a:pt x="29645" y="0"/>
                    <a:pt x="66214" y="0"/>
                  </a:cubicBezTo>
                  <a:cubicBezTo>
                    <a:pt x="102784" y="0"/>
                    <a:pt x="132428" y="29645"/>
                    <a:pt x="132428"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49" name="Frihåndsform: figur 48">
              <a:extLst>
                <a:ext uri="{FF2B5EF4-FFF2-40B4-BE49-F238E27FC236}">
                  <a16:creationId xmlns:a16="http://schemas.microsoft.com/office/drawing/2014/main" id="{9752CA30-9D71-E4EF-868A-E32A26642BD5}"/>
                </a:ext>
              </a:extLst>
            </p:cNvPr>
            <p:cNvSpPr/>
            <p:nvPr/>
          </p:nvSpPr>
          <p:spPr>
            <a:xfrm>
              <a:off x="5808187" y="2781926"/>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0" name="Frihåndsform: figur 49">
              <a:extLst>
                <a:ext uri="{FF2B5EF4-FFF2-40B4-BE49-F238E27FC236}">
                  <a16:creationId xmlns:a16="http://schemas.microsoft.com/office/drawing/2014/main" id="{C170E9DB-191E-1FCE-AFE0-B753F07B6BD9}"/>
                </a:ext>
              </a:extLst>
            </p:cNvPr>
            <p:cNvSpPr/>
            <p:nvPr/>
          </p:nvSpPr>
          <p:spPr>
            <a:xfrm>
              <a:off x="5685655" y="2899662"/>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1" name="Frihåndsform: figur 50">
              <a:extLst>
                <a:ext uri="{FF2B5EF4-FFF2-40B4-BE49-F238E27FC236}">
                  <a16:creationId xmlns:a16="http://schemas.microsoft.com/office/drawing/2014/main" id="{010A5CB3-C357-A4F4-78FB-079D9E16C0C0}"/>
                </a:ext>
              </a:extLst>
            </p:cNvPr>
            <p:cNvSpPr/>
            <p:nvPr/>
          </p:nvSpPr>
          <p:spPr>
            <a:xfrm rot="20203798">
              <a:off x="5764195" y="2991706"/>
              <a:ext cx="415956" cy="138956"/>
            </a:xfrm>
            <a:custGeom>
              <a:avLst/>
              <a:gdLst>
                <a:gd name="connsiteX0" fmla="*/ 0 w 415956"/>
                <a:gd name="connsiteY0" fmla="*/ 0 h 138956"/>
                <a:gd name="connsiteX1" fmla="*/ 415956 w 415956"/>
                <a:gd name="connsiteY1" fmla="*/ 0 h 138956"/>
                <a:gd name="connsiteX2" fmla="*/ 415956 w 415956"/>
                <a:gd name="connsiteY2" fmla="*/ 138957 h 138956"/>
                <a:gd name="connsiteX3" fmla="*/ 0 w 415956"/>
                <a:gd name="connsiteY3" fmla="*/ 138957 h 138956"/>
              </a:gdLst>
              <a:ahLst/>
              <a:cxnLst>
                <a:cxn ang="0">
                  <a:pos x="connsiteX0" y="connsiteY0"/>
                </a:cxn>
                <a:cxn ang="0">
                  <a:pos x="connsiteX1" y="connsiteY1"/>
                </a:cxn>
                <a:cxn ang="0">
                  <a:pos x="connsiteX2" y="connsiteY2"/>
                </a:cxn>
                <a:cxn ang="0">
                  <a:pos x="connsiteX3" y="connsiteY3"/>
                </a:cxn>
              </a:cxnLst>
              <a:rect l="l" t="t" r="r" b="b"/>
              <a:pathLst>
                <a:path w="415956" h="138956">
                  <a:moveTo>
                    <a:pt x="0" y="0"/>
                  </a:moveTo>
                  <a:lnTo>
                    <a:pt x="415956" y="0"/>
                  </a:lnTo>
                  <a:lnTo>
                    <a:pt x="415956" y="138957"/>
                  </a:lnTo>
                  <a:lnTo>
                    <a:pt x="0" y="138957"/>
                  </a:lnTo>
                  <a:close/>
                </a:path>
              </a:pathLst>
            </a:custGeom>
            <a:solidFill>
              <a:srgbClr val="1E98F5"/>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2" name="Frihåndsform: figur 51">
              <a:extLst>
                <a:ext uri="{FF2B5EF4-FFF2-40B4-BE49-F238E27FC236}">
                  <a16:creationId xmlns:a16="http://schemas.microsoft.com/office/drawing/2014/main" id="{37AABC1C-D0AB-0021-6BD7-9EFE868656BF}"/>
                </a:ext>
              </a:extLst>
            </p:cNvPr>
            <p:cNvSpPr/>
            <p:nvPr/>
          </p:nvSpPr>
          <p:spPr>
            <a:xfrm>
              <a:off x="7946327" y="3885755"/>
              <a:ext cx="424220" cy="370620"/>
            </a:xfrm>
            <a:custGeom>
              <a:avLst/>
              <a:gdLst>
                <a:gd name="connsiteX0" fmla="*/ 0 w 424220"/>
                <a:gd name="connsiteY0" fmla="*/ 9354 h 370620"/>
                <a:gd name="connsiteX1" fmla="*/ 145998 w 424220"/>
                <a:gd name="connsiteY1" fmla="*/ 31494 h 370620"/>
                <a:gd name="connsiteX2" fmla="*/ 161608 w 424220"/>
                <a:gd name="connsiteY2" fmla="*/ 43430 h 370620"/>
                <a:gd name="connsiteX3" fmla="*/ 175381 w 424220"/>
                <a:gd name="connsiteY3" fmla="*/ 56387 h 370620"/>
                <a:gd name="connsiteX4" fmla="*/ 200887 w 424220"/>
                <a:gd name="connsiteY4" fmla="*/ 83118 h 370620"/>
                <a:gd name="connsiteX5" fmla="*/ 249452 w 424220"/>
                <a:gd name="connsiteY5" fmla="*/ 137802 h 370620"/>
                <a:gd name="connsiteX6" fmla="*/ 342906 w 424220"/>
                <a:gd name="connsiteY6" fmla="*/ 249417 h 370620"/>
                <a:gd name="connsiteX7" fmla="*/ 388716 w 424220"/>
                <a:gd name="connsiteY7" fmla="*/ 305938 h 370620"/>
                <a:gd name="connsiteX8" fmla="*/ 424221 w 424220"/>
                <a:gd name="connsiteY8" fmla="*/ 370621 h 370620"/>
                <a:gd name="connsiteX9" fmla="*/ 368923 w 424220"/>
                <a:gd name="connsiteY9" fmla="*/ 321956 h 370620"/>
                <a:gd name="connsiteX10" fmla="*/ 323114 w 424220"/>
                <a:gd name="connsiteY10" fmla="*/ 265638 h 370620"/>
                <a:gd name="connsiteX11" fmla="*/ 230066 w 424220"/>
                <a:gd name="connsiteY11" fmla="*/ 154432 h 370620"/>
                <a:gd name="connsiteX12" fmla="*/ 182115 w 424220"/>
                <a:gd name="connsiteY12" fmla="*/ 100462 h 370620"/>
                <a:gd name="connsiteX13" fmla="*/ 131103 w 424220"/>
                <a:gd name="connsiteY13" fmla="*/ 52612 h 370620"/>
                <a:gd name="connsiteX14" fmla="*/ 68969 w 424220"/>
                <a:gd name="connsiteY14" fmla="*/ 26698 h 370620"/>
                <a:gd name="connsiteX15" fmla="*/ 0 w 424220"/>
                <a:gd name="connsiteY15" fmla="*/ 9354 h 37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4220" h="370620">
                  <a:moveTo>
                    <a:pt x="0" y="9354"/>
                  </a:moveTo>
                  <a:cubicBezTo>
                    <a:pt x="49258" y="-8663"/>
                    <a:pt x="104300" y="-318"/>
                    <a:pt x="145998" y="31494"/>
                  </a:cubicBezTo>
                  <a:cubicBezTo>
                    <a:pt x="151406" y="35064"/>
                    <a:pt x="156200" y="39451"/>
                    <a:pt x="161608" y="43430"/>
                  </a:cubicBezTo>
                  <a:lnTo>
                    <a:pt x="175381" y="56387"/>
                  </a:lnTo>
                  <a:cubicBezTo>
                    <a:pt x="184054" y="65263"/>
                    <a:pt x="192726" y="74037"/>
                    <a:pt x="200887" y="83118"/>
                  </a:cubicBezTo>
                  <a:cubicBezTo>
                    <a:pt x="217518" y="101074"/>
                    <a:pt x="233433" y="119438"/>
                    <a:pt x="249452" y="137802"/>
                  </a:cubicBezTo>
                  <a:cubicBezTo>
                    <a:pt x="281079" y="174633"/>
                    <a:pt x="312095" y="211974"/>
                    <a:pt x="342906" y="249417"/>
                  </a:cubicBezTo>
                  <a:lnTo>
                    <a:pt x="388716" y="305938"/>
                  </a:lnTo>
                  <a:cubicBezTo>
                    <a:pt x="400959" y="327261"/>
                    <a:pt x="413202" y="348482"/>
                    <a:pt x="424221" y="370621"/>
                  </a:cubicBezTo>
                  <a:cubicBezTo>
                    <a:pt x="405142" y="354807"/>
                    <a:pt x="387083" y="338279"/>
                    <a:pt x="368923" y="321956"/>
                  </a:cubicBezTo>
                  <a:lnTo>
                    <a:pt x="323114" y="265638"/>
                  </a:lnTo>
                  <a:cubicBezTo>
                    <a:pt x="292506" y="228196"/>
                    <a:pt x="261899" y="190957"/>
                    <a:pt x="230066" y="154432"/>
                  </a:cubicBezTo>
                  <a:cubicBezTo>
                    <a:pt x="214253" y="136170"/>
                    <a:pt x="198439" y="118010"/>
                    <a:pt x="182115" y="100462"/>
                  </a:cubicBezTo>
                  <a:cubicBezTo>
                    <a:pt x="166933" y="82679"/>
                    <a:pt x="149824" y="66631"/>
                    <a:pt x="131103" y="52612"/>
                  </a:cubicBezTo>
                  <a:cubicBezTo>
                    <a:pt x="112279" y="40002"/>
                    <a:pt x="91170" y="31198"/>
                    <a:pt x="68969" y="26698"/>
                  </a:cubicBezTo>
                  <a:cubicBezTo>
                    <a:pt x="46779" y="18088"/>
                    <a:pt x="23619" y="12262"/>
                    <a:pt x="0" y="9354"/>
                  </a:cubicBezTo>
                  <a:close/>
                </a:path>
              </a:pathLst>
            </a:custGeom>
            <a:solidFill>
              <a:srgbClr val="EDCFC5"/>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3" name="Frihåndsform: figur 52">
              <a:extLst>
                <a:ext uri="{FF2B5EF4-FFF2-40B4-BE49-F238E27FC236}">
                  <a16:creationId xmlns:a16="http://schemas.microsoft.com/office/drawing/2014/main" id="{F2DB3A19-67FC-6F77-0EF5-822A405E66D2}"/>
                </a:ext>
              </a:extLst>
            </p:cNvPr>
            <p:cNvSpPr/>
            <p:nvPr/>
          </p:nvSpPr>
          <p:spPr>
            <a:xfrm>
              <a:off x="6051619" y="3587201"/>
              <a:ext cx="165449" cy="991060"/>
            </a:xfrm>
            <a:custGeom>
              <a:avLst/>
              <a:gdLst>
                <a:gd name="connsiteX0" fmla="*/ 0 w 165449"/>
                <a:gd name="connsiteY0" fmla="*/ 0 h 991060"/>
                <a:gd name="connsiteX1" fmla="*/ 58868 w 165449"/>
                <a:gd name="connsiteY1" fmla="*/ 30607 h 991060"/>
                <a:gd name="connsiteX2" fmla="*/ 104269 w 165449"/>
                <a:gd name="connsiteY2" fmla="*/ 81619 h 991060"/>
                <a:gd name="connsiteX3" fmla="*/ 147222 w 165449"/>
                <a:gd name="connsiteY3" fmla="*/ 208231 h 991060"/>
                <a:gd name="connsiteX4" fmla="*/ 165382 w 165449"/>
                <a:gd name="connsiteY4" fmla="*/ 470330 h 991060"/>
                <a:gd name="connsiteX5" fmla="*/ 161607 w 165449"/>
                <a:gd name="connsiteY5" fmla="*/ 600921 h 991060"/>
                <a:gd name="connsiteX6" fmla="*/ 159261 w 165449"/>
                <a:gd name="connsiteY6" fmla="*/ 730797 h 991060"/>
                <a:gd name="connsiteX7" fmla="*/ 159261 w 165449"/>
                <a:gd name="connsiteY7" fmla="*/ 860980 h 991060"/>
                <a:gd name="connsiteX8" fmla="*/ 145998 w 165449"/>
                <a:gd name="connsiteY8" fmla="*/ 991060 h 991060"/>
                <a:gd name="connsiteX9" fmla="*/ 133755 w 165449"/>
                <a:gd name="connsiteY9" fmla="*/ 860674 h 991060"/>
                <a:gd name="connsiteX10" fmla="*/ 133755 w 165449"/>
                <a:gd name="connsiteY10" fmla="*/ 730287 h 991060"/>
                <a:gd name="connsiteX11" fmla="*/ 136101 w 165449"/>
                <a:gd name="connsiteY11" fmla="*/ 599799 h 991060"/>
                <a:gd name="connsiteX12" fmla="*/ 139876 w 165449"/>
                <a:gd name="connsiteY12" fmla="*/ 470024 h 991060"/>
                <a:gd name="connsiteX13" fmla="*/ 122226 w 165449"/>
                <a:gd name="connsiteY13" fmla="*/ 213128 h 991060"/>
                <a:gd name="connsiteX14" fmla="*/ 81416 w 165449"/>
                <a:gd name="connsiteY14" fmla="*/ 94066 h 991060"/>
                <a:gd name="connsiteX15" fmla="*/ 0 w 165449"/>
                <a:gd name="connsiteY15" fmla="*/ 0 h 99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449" h="991060">
                  <a:moveTo>
                    <a:pt x="0" y="0"/>
                  </a:moveTo>
                  <a:cubicBezTo>
                    <a:pt x="21476" y="6162"/>
                    <a:pt x="41493" y="16569"/>
                    <a:pt x="58868" y="30607"/>
                  </a:cubicBezTo>
                  <a:cubicBezTo>
                    <a:pt x="76519" y="45186"/>
                    <a:pt x="91833" y="62398"/>
                    <a:pt x="104269" y="81619"/>
                  </a:cubicBezTo>
                  <a:cubicBezTo>
                    <a:pt x="124899" y="121408"/>
                    <a:pt x="139387" y="164095"/>
                    <a:pt x="147222" y="208231"/>
                  </a:cubicBezTo>
                  <a:cubicBezTo>
                    <a:pt x="163852" y="295257"/>
                    <a:pt x="165892" y="383100"/>
                    <a:pt x="165382" y="470330"/>
                  </a:cubicBezTo>
                  <a:cubicBezTo>
                    <a:pt x="165382" y="513894"/>
                    <a:pt x="163444" y="557459"/>
                    <a:pt x="161607" y="600921"/>
                  </a:cubicBezTo>
                  <a:cubicBezTo>
                    <a:pt x="159771" y="644383"/>
                    <a:pt x="159567" y="687437"/>
                    <a:pt x="159261" y="730797"/>
                  </a:cubicBezTo>
                  <a:lnTo>
                    <a:pt x="159261" y="860980"/>
                  </a:lnTo>
                  <a:cubicBezTo>
                    <a:pt x="155282" y="904238"/>
                    <a:pt x="151303" y="947700"/>
                    <a:pt x="145998" y="991060"/>
                  </a:cubicBezTo>
                  <a:cubicBezTo>
                    <a:pt x="141100" y="947700"/>
                    <a:pt x="137530" y="904238"/>
                    <a:pt x="133755" y="860674"/>
                  </a:cubicBezTo>
                  <a:lnTo>
                    <a:pt x="133755" y="730287"/>
                  </a:lnTo>
                  <a:cubicBezTo>
                    <a:pt x="133755" y="686927"/>
                    <a:pt x="133755" y="643363"/>
                    <a:pt x="136101" y="599799"/>
                  </a:cubicBezTo>
                  <a:cubicBezTo>
                    <a:pt x="138448" y="556234"/>
                    <a:pt x="139468" y="513282"/>
                    <a:pt x="139876" y="470024"/>
                  </a:cubicBezTo>
                  <a:cubicBezTo>
                    <a:pt x="140488" y="383712"/>
                    <a:pt x="138244" y="296584"/>
                    <a:pt x="122226" y="213128"/>
                  </a:cubicBezTo>
                  <a:cubicBezTo>
                    <a:pt x="114819" y="171584"/>
                    <a:pt x="101056" y="131417"/>
                    <a:pt x="81416" y="94066"/>
                  </a:cubicBezTo>
                  <a:cubicBezTo>
                    <a:pt x="65214" y="54705"/>
                    <a:pt x="36637" y="21680"/>
                    <a:pt x="0" y="0"/>
                  </a:cubicBezTo>
                  <a:close/>
                </a:path>
              </a:pathLst>
            </a:custGeom>
            <a:solidFill>
              <a:srgbClr val="EDCFC5"/>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4" name="Frihåndsform: figur 53">
              <a:extLst>
                <a:ext uri="{FF2B5EF4-FFF2-40B4-BE49-F238E27FC236}">
                  <a16:creationId xmlns:a16="http://schemas.microsoft.com/office/drawing/2014/main" id="{A99AA27F-8E43-AA0D-A6D3-A0DFB4E1AD7E}"/>
                </a:ext>
              </a:extLst>
            </p:cNvPr>
            <p:cNvSpPr/>
            <p:nvPr/>
          </p:nvSpPr>
          <p:spPr>
            <a:xfrm>
              <a:off x="7163696" y="3940510"/>
              <a:ext cx="402587" cy="578985"/>
            </a:xfrm>
            <a:custGeom>
              <a:avLst/>
              <a:gdLst>
                <a:gd name="connsiteX0" fmla="*/ 299236 w 402587"/>
                <a:gd name="connsiteY0" fmla="*/ 0 h 578985"/>
                <a:gd name="connsiteX1" fmla="*/ 206598 w 402587"/>
                <a:gd name="connsiteY1" fmla="*/ 154770 h 578985"/>
                <a:gd name="connsiteX2" fmla="*/ 294543 w 402587"/>
                <a:gd name="connsiteY2" fmla="*/ 430235 h 578985"/>
                <a:gd name="connsiteX3" fmla="*/ 402587 w 402587"/>
                <a:gd name="connsiteY3" fmla="*/ 463086 h 578985"/>
                <a:gd name="connsiteX4" fmla="*/ 207924 w 402587"/>
                <a:gd name="connsiteY4" fmla="*/ 578986 h 578985"/>
                <a:gd name="connsiteX5" fmla="*/ 2547 w 402587"/>
                <a:gd name="connsiteY5" fmla="*/ 318825 h 578985"/>
                <a:gd name="connsiteX6" fmla="*/ 73965 w 402587"/>
                <a:gd name="connsiteY6" fmla="*/ 101106 h 578985"/>
                <a:gd name="connsiteX7" fmla="*/ 227513 w 402587"/>
                <a:gd name="connsiteY7" fmla="*/ 32035 h 578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587" h="578985">
                  <a:moveTo>
                    <a:pt x="299236" y="0"/>
                  </a:moveTo>
                  <a:cubicBezTo>
                    <a:pt x="299236" y="0"/>
                    <a:pt x="234246" y="86720"/>
                    <a:pt x="206598" y="154770"/>
                  </a:cubicBezTo>
                  <a:cubicBezTo>
                    <a:pt x="165788" y="255570"/>
                    <a:pt x="236082" y="369020"/>
                    <a:pt x="294543" y="430235"/>
                  </a:cubicBezTo>
                  <a:cubicBezTo>
                    <a:pt x="329741" y="467167"/>
                    <a:pt x="402587" y="463086"/>
                    <a:pt x="402587" y="463086"/>
                  </a:cubicBezTo>
                  <a:lnTo>
                    <a:pt x="207924" y="578986"/>
                  </a:lnTo>
                  <a:cubicBezTo>
                    <a:pt x="207924" y="578986"/>
                    <a:pt x="25094" y="496244"/>
                    <a:pt x="2547" y="318825"/>
                  </a:cubicBezTo>
                  <a:cubicBezTo>
                    <a:pt x="-16123" y="171094"/>
                    <a:pt x="73965" y="101106"/>
                    <a:pt x="73965" y="101106"/>
                  </a:cubicBezTo>
                  <a:lnTo>
                    <a:pt x="227513" y="32035"/>
                  </a:lnTo>
                  <a:close/>
                </a:path>
              </a:pathLst>
            </a:custGeom>
            <a:solidFill>
              <a:srgbClr val="1E98F5"/>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sp>
          <p:nvSpPr>
            <p:cNvPr id="55" name="Frihåndsform: figur 54">
              <a:extLst>
                <a:ext uri="{FF2B5EF4-FFF2-40B4-BE49-F238E27FC236}">
                  <a16:creationId xmlns:a16="http://schemas.microsoft.com/office/drawing/2014/main" id="{9E237C1B-44BE-8392-9054-5E362DB0DBAD}"/>
                </a:ext>
              </a:extLst>
            </p:cNvPr>
            <p:cNvSpPr/>
            <p:nvPr/>
          </p:nvSpPr>
          <p:spPr>
            <a:xfrm>
              <a:off x="7183649" y="3948468"/>
              <a:ext cx="247246" cy="221799"/>
            </a:xfrm>
            <a:custGeom>
              <a:avLst/>
              <a:gdLst>
                <a:gd name="connsiteX0" fmla="*/ 83496 w 247246"/>
                <a:gd name="connsiteY0" fmla="*/ 57644 h 221799"/>
                <a:gd name="connsiteX1" fmla="*/ 47175 w 247246"/>
                <a:gd name="connsiteY1" fmla="*/ 103350 h 221799"/>
                <a:gd name="connsiteX2" fmla="*/ 1366 w 247246"/>
                <a:gd name="connsiteY2" fmla="*/ 204252 h 221799"/>
                <a:gd name="connsiteX3" fmla="*/ 2590 w 247246"/>
                <a:gd name="connsiteY3" fmla="*/ 221800 h 221799"/>
                <a:gd name="connsiteX4" fmla="*/ 157771 w 247246"/>
                <a:gd name="connsiteY4" fmla="*/ 175685 h 221799"/>
                <a:gd name="connsiteX5" fmla="*/ 224189 w 247246"/>
                <a:gd name="connsiteY5" fmla="*/ 37749 h 221799"/>
                <a:gd name="connsiteX6" fmla="*/ 247247 w 247246"/>
                <a:gd name="connsiteY6" fmla="*/ 6223 h 221799"/>
                <a:gd name="connsiteX7" fmla="*/ 224189 w 247246"/>
                <a:gd name="connsiteY7" fmla="*/ 204 h 221799"/>
                <a:gd name="connsiteX8" fmla="*/ 83496 w 247246"/>
                <a:gd name="connsiteY8" fmla="*/ 57644 h 22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246" h="221799">
                  <a:moveTo>
                    <a:pt x="83496" y="57644"/>
                  </a:moveTo>
                  <a:cubicBezTo>
                    <a:pt x="69416" y="67846"/>
                    <a:pt x="47175" y="103350"/>
                    <a:pt x="47175" y="103350"/>
                  </a:cubicBezTo>
                  <a:cubicBezTo>
                    <a:pt x="28291" y="135223"/>
                    <a:pt x="12925" y="169054"/>
                    <a:pt x="1366" y="204252"/>
                  </a:cubicBezTo>
                  <a:cubicBezTo>
                    <a:pt x="-2307" y="217209"/>
                    <a:pt x="2590" y="221800"/>
                    <a:pt x="2590" y="221800"/>
                  </a:cubicBezTo>
                  <a:lnTo>
                    <a:pt x="157771" y="175685"/>
                  </a:lnTo>
                  <a:cubicBezTo>
                    <a:pt x="147568" y="177828"/>
                    <a:pt x="200009" y="63459"/>
                    <a:pt x="224189" y="37749"/>
                  </a:cubicBezTo>
                  <a:cubicBezTo>
                    <a:pt x="231331" y="30097"/>
                    <a:pt x="247247" y="6223"/>
                    <a:pt x="247247" y="6223"/>
                  </a:cubicBezTo>
                  <a:cubicBezTo>
                    <a:pt x="240564" y="1439"/>
                    <a:pt x="232351" y="-704"/>
                    <a:pt x="224189" y="204"/>
                  </a:cubicBezTo>
                  <a:cubicBezTo>
                    <a:pt x="212456" y="2551"/>
                    <a:pt x="97576" y="47135"/>
                    <a:pt x="83496" y="57644"/>
                  </a:cubicBezTo>
                  <a:close/>
                </a:path>
              </a:pathLst>
            </a:custGeom>
            <a:solidFill>
              <a:srgbClr val="F05F63"/>
            </a:solidFill>
            <a:ln w="10203" cap="flat">
              <a:noFill/>
              <a:prstDash val="solid"/>
              <a:miter/>
            </a:ln>
          </p:spPr>
          <p:txBody>
            <a:bodyPr rtlCol="0" anchor="ctr"/>
            <a:lstStyle/>
            <a:p>
              <a:pPr defTabSz="1219078"/>
              <a:endParaRPr lang="nb-NO" sz="2400">
                <a:solidFill>
                  <a:srgbClr val="1E2B3C"/>
                </a:solidFill>
                <a:latin typeface="Arial" panose="020B0604020202020204"/>
              </a:endParaRPr>
            </a:p>
          </p:txBody>
        </p:sp>
      </p:grpSp>
      <p:sp>
        <p:nvSpPr>
          <p:cNvPr id="62" name="TekstSylinder 61">
            <a:extLst>
              <a:ext uri="{FF2B5EF4-FFF2-40B4-BE49-F238E27FC236}">
                <a16:creationId xmlns:a16="http://schemas.microsoft.com/office/drawing/2014/main" id="{5CD9E37A-2A7B-5D86-6310-C7CC6642012D}"/>
              </a:ext>
            </a:extLst>
          </p:cNvPr>
          <p:cNvSpPr txBox="1"/>
          <p:nvPr/>
        </p:nvSpPr>
        <p:spPr>
          <a:xfrm>
            <a:off x="5002765" y="464108"/>
            <a:ext cx="6135013" cy="1200200"/>
          </a:xfrm>
          <a:prstGeom prst="rect">
            <a:avLst/>
          </a:prstGeom>
          <a:noFill/>
        </p:spPr>
        <p:txBody>
          <a:bodyPr wrap="none" rtlCol="0">
            <a:spAutoFit/>
          </a:bodyPr>
          <a:lstStyle/>
          <a:p>
            <a:pPr defTabSz="1219078"/>
            <a:r>
              <a:rPr lang="nb-NO" sz="7199" dirty="0">
                <a:solidFill>
                  <a:srgbClr val="1E2B3C"/>
                </a:solidFill>
                <a:latin typeface="Arial" panose="020B0604020202020204"/>
              </a:rPr>
              <a:t>Utviklingstrekk</a:t>
            </a:r>
          </a:p>
        </p:txBody>
      </p:sp>
    </p:spTree>
    <p:extLst>
      <p:ext uri="{BB962C8B-B14F-4D97-AF65-F5344CB8AC3E}">
        <p14:creationId xmlns:p14="http://schemas.microsoft.com/office/powerpoint/2010/main" val="5287581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dir_ppt_mal" id="{09402E70-7836-4A76-98C1-D621FB816469}" vid="{F513D9EA-257E-4DB9-BFBF-9A5262E320A6}"/>
    </a:ext>
  </a:extLst>
</a:theme>
</file>

<file path=ppt/theme/theme10.xml><?xml version="1.0" encoding="utf-8"?>
<a:theme xmlns:a="http://schemas.openxmlformats.org/drawingml/2006/main" name="1_Office-tema">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1.xml><?xml version="1.0" encoding="utf-8"?>
<a:theme xmlns:a="http://schemas.openxmlformats.org/drawingml/2006/main" name="Office-tema">
  <a:themeElements>
    <a:clrScheme name="Custom 17">
      <a:dk1>
        <a:sysClr val="windowText" lastClr="000000"/>
      </a:dk1>
      <a:lt1>
        <a:sysClr val="window" lastClr="FFFFFF"/>
      </a:lt1>
      <a:dk2>
        <a:srgbClr val="12121E"/>
      </a:dk2>
      <a:lt2>
        <a:srgbClr val="F2F2F2"/>
      </a:lt2>
      <a:accent1>
        <a:srgbClr val="00B0F0"/>
      </a:accent1>
      <a:accent2>
        <a:srgbClr val="5ECCF3"/>
      </a:accent2>
      <a:accent3>
        <a:srgbClr val="A7EA52"/>
      </a:accent3>
      <a:accent4>
        <a:srgbClr val="5DCEAF"/>
      </a:accent4>
      <a:accent5>
        <a:srgbClr val="FF8021"/>
      </a:accent5>
      <a:accent6>
        <a:srgbClr val="F14124"/>
      </a:accent6>
      <a:hlink>
        <a:srgbClr val="5ECCF3"/>
      </a:hlink>
      <a:folHlink>
        <a:srgbClr val="7F7F7F"/>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19718573_TF16411192" id="{36ED2A68-8265-40D2-B3D9-9DA4DD565433}" vid="{D2793402-00E4-4607-90F1-47BBE35B1B5F}"/>
    </a:ext>
  </a:extLst>
</a:theme>
</file>

<file path=ppt/theme/theme12.xml><?xml version="1.0" encoding="utf-8"?>
<a:theme xmlns:a="http://schemas.openxmlformats.org/drawingml/2006/main" name="5_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dir_ppt_mal" id="{09402E70-7836-4A76-98C1-D621FB816469}" vid="{F513D9EA-257E-4DB9-BFBF-9A5262E320A6}"/>
    </a:ext>
  </a:extLst>
</a:theme>
</file>

<file path=ppt/theme/theme13.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vergang Introslides - Med lyd">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dir_ppt_mal" id="{09402E70-7836-4A76-98C1-D621FB816469}" vid="{F8C07AF9-138E-458F-9801-2AB7D1CB6417}"/>
    </a:ext>
  </a:extLst>
</a:theme>
</file>

<file path=ppt/theme/theme3.xml><?xml version="1.0" encoding="utf-8"?>
<a:theme xmlns:a="http://schemas.openxmlformats.org/drawingml/2006/main" name="Overgang Introslides - Uten lyd">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dir_ppt_mal" id="{09402E70-7836-4A76-98C1-D621FB816469}" vid="{4FA7598C-311E-4D41-AEEE-A0D0A96A8C80}"/>
    </a:ext>
  </a:extLst>
</a:theme>
</file>

<file path=ppt/theme/theme4.xml><?xml version="1.0" encoding="utf-8"?>
<a:theme xmlns:a="http://schemas.openxmlformats.org/drawingml/2006/main" name="2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dir_ppt_mal" id="{09402E70-7836-4A76-98C1-D621FB816469}" vid="{F513D9EA-257E-4DB9-BFBF-9A5262E320A6}"/>
    </a:ext>
  </a:extLst>
</a:theme>
</file>

<file path=ppt/theme/theme6.xml><?xml version="1.0" encoding="utf-8"?>
<a:theme xmlns:a="http://schemas.openxmlformats.org/drawingml/2006/main" name="3_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igdir_ppt_mal" id="{09402E70-7836-4A76-98C1-D621FB816469}" vid="{F513D9EA-257E-4DB9-BFBF-9A5262E320A6}"/>
    </a:ext>
  </a:extLst>
</a:theme>
</file>

<file path=ppt/theme/theme7.xml><?xml version="1.0" encoding="utf-8"?>
<a:theme xmlns:a="http://schemas.openxmlformats.org/drawingml/2006/main" name="Egendefinert utform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gelsk" id="{9590665C-7DCB-4A57-9613-66C5DCECD862}" vid="{44923206-AFD3-4E70-B03D-C6CA90A78EEC}"/>
    </a:ext>
  </a:extLst>
</a:theme>
</file>

<file path=ppt/theme/theme9.xml><?xml version="1.0" encoding="utf-8"?>
<a:theme xmlns:a="http://schemas.openxmlformats.org/drawingml/2006/main" name="Office Theme">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C28D411EC2F204491ED9F9753989140" ma:contentTypeVersion="16" ma:contentTypeDescription="Opprett et nytt dokument." ma:contentTypeScope="" ma:versionID="bbf0ffb20c918a5f3b5669792e70cf1f">
  <xsd:schema xmlns:xsd="http://www.w3.org/2001/XMLSchema" xmlns:xs="http://www.w3.org/2001/XMLSchema" xmlns:p="http://schemas.microsoft.com/office/2006/metadata/properties" xmlns:ns2="e5c198c8-13d0-4c8c-b3d7-06fd79ca856c" xmlns:ns3="58f3675d-8789-421e-af73-a2e446c41e01" targetNamespace="http://schemas.microsoft.com/office/2006/metadata/properties" ma:root="true" ma:fieldsID="28f494a325fe973135634d0bdd7615a7" ns2:_="" ns3:_="">
    <xsd:import namespace="e5c198c8-13d0-4c8c-b3d7-06fd79ca856c"/>
    <xsd:import namespace="58f3675d-8789-421e-af73-a2e446c41e0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c198c8-13d0-4c8c-b3d7-06fd79ca8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Bildemerkelapper" ma:readOnly="false" ma:fieldId="{5cf76f15-5ced-4ddc-b409-7134ff3c332f}" ma:taxonomyMulti="true" ma:sspId="e6d7e6c2-7970-46fd-9f9e-11a9ab25f9ac"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DateTaken" ma:index="23"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8f3675d-8789-421e-af73-a2e446c41e01"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ingsdetaljer" ma:internalName="SharedWithDetails" ma:readOnly="true">
      <xsd:simpleType>
        <xsd:restriction base="dms:Note">
          <xsd:maxLength value="255"/>
        </xsd:restriction>
      </xsd:simpleType>
    </xsd:element>
    <xsd:element name="TaxCatchAll" ma:index="16" nillable="true" ma:displayName="Taxonomy Catch All Column" ma:hidden="true" ma:list="{cde73893-9455-424b-91de-80184f873388}" ma:internalName="TaxCatchAll" ma:showField="CatchAllData" ma:web="58f3675d-8789-421e-af73-a2e446c41e0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8f3675d-8789-421e-af73-a2e446c41e01" xsi:nil="true"/>
    <lcf76f155ced4ddcb4097134ff3c332f xmlns="e5c198c8-13d0-4c8c-b3d7-06fd79ca856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676D4B4-A60E-4621-9560-22EA61BA33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c198c8-13d0-4c8c-b3d7-06fd79ca856c"/>
    <ds:schemaRef ds:uri="58f3675d-8789-421e-af73-a2e446c41e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E07FA78-A062-46AA-A486-2DC36734CD4E}">
  <ds:schemaRefs>
    <ds:schemaRef ds:uri="http://schemas.microsoft.com/sharepoint/v3/contenttype/forms"/>
  </ds:schemaRefs>
</ds:datastoreItem>
</file>

<file path=customXml/itemProps3.xml><?xml version="1.0" encoding="utf-8"?>
<ds:datastoreItem xmlns:ds="http://schemas.openxmlformats.org/officeDocument/2006/customXml" ds:itemID="{26296C7A-F1F8-44E5-8146-3A8A180770E6}">
  <ds:schemaRefs>
    <ds:schemaRef ds:uri="http://schemas.microsoft.com/office/2006/metadata/properties"/>
    <ds:schemaRef ds:uri="http://schemas.microsoft.com/office/infopath/2007/PartnerControls"/>
    <ds:schemaRef ds:uri="58f3675d-8789-421e-af73-a2e446c41e01"/>
    <ds:schemaRef ds:uri="e5c198c8-13d0-4c8c-b3d7-06fd79ca856c"/>
  </ds:schemaRefs>
</ds:datastoreItem>
</file>

<file path=docProps/app.xml><?xml version="1.0" encoding="utf-8"?>
<Properties xmlns="http://schemas.openxmlformats.org/officeDocument/2006/extended-properties" xmlns:vt="http://schemas.openxmlformats.org/officeDocument/2006/docPropsVTypes">
  <Template>Digdir mal</Template>
  <TotalTime>3221</TotalTime>
  <Words>6202</Words>
  <Application>Microsoft Office PowerPoint</Application>
  <PresentationFormat>Egendefinert</PresentationFormat>
  <Paragraphs>664</Paragraphs>
  <Slides>47</Slides>
  <Notes>34</Notes>
  <HiddenSlides>6</HiddenSlides>
  <MMClips>0</MMClips>
  <ScaleCrop>false</ScaleCrop>
  <HeadingPairs>
    <vt:vector size="8" baseType="variant">
      <vt:variant>
        <vt:lpstr>Brukte skrifter</vt:lpstr>
      </vt:variant>
      <vt:variant>
        <vt:i4>14</vt:i4>
      </vt:variant>
      <vt:variant>
        <vt:lpstr>Tema</vt:lpstr>
      </vt:variant>
      <vt:variant>
        <vt:i4>12</vt:i4>
      </vt:variant>
      <vt:variant>
        <vt:lpstr>Innebygde OLE-servere</vt:lpstr>
      </vt:variant>
      <vt:variant>
        <vt:i4>1</vt:i4>
      </vt:variant>
      <vt:variant>
        <vt:lpstr>Lysbildetitler</vt:lpstr>
      </vt:variant>
      <vt:variant>
        <vt:i4>47</vt:i4>
      </vt:variant>
    </vt:vector>
  </HeadingPairs>
  <TitlesOfParts>
    <vt:vector size="74" baseType="lpstr">
      <vt:lpstr>Aptos</vt:lpstr>
      <vt:lpstr>Aptos Display</vt:lpstr>
      <vt:lpstr>Arial</vt:lpstr>
      <vt:lpstr>Arial (Overskrifter)</vt:lpstr>
      <vt:lpstr>Calibri</vt:lpstr>
      <vt:lpstr>Calibri Light</vt:lpstr>
      <vt:lpstr>Inter</vt:lpstr>
      <vt:lpstr>segoe UI</vt:lpstr>
      <vt:lpstr>segoe UI</vt:lpstr>
      <vt:lpstr>Symbol</vt:lpstr>
      <vt:lpstr>Times New Roman</vt:lpstr>
      <vt:lpstr>Trebuchet MS</vt:lpstr>
      <vt:lpstr>Wingdings</vt:lpstr>
      <vt:lpstr>WordVisi_MSFontService</vt:lpstr>
      <vt:lpstr>Digdir PPTmal</vt:lpstr>
      <vt:lpstr>Overgang Introslides - Med lyd</vt:lpstr>
      <vt:lpstr>Overgang Introslides - Uten lyd</vt:lpstr>
      <vt:lpstr>2_Office-tema</vt:lpstr>
      <vt:lpstr>2_Digdir PPTmal</vt:lpstr>
      <vt:lpstr>3_Digdir PPTmal</vt:lpstr>
      <vt:lpstr>Egendefinert utforming</vt:lpstr>
      <vt:lpstr>1_Digdir PPTmal</vt:lpstr>
      <vt:lpstr>Office Theme</vt:lpstr>
      <vt:lpstr>1_Office-tema</vt:lpstr>
      <vt:lpstr>Office-tema</vt:lpstr>
      <vt:lpstr>5_Digdir PPTmal</vt:lpstr>
      <vt:lpstr>think-cell Slide</vt:lpstr>
      <vt:lpstr>PowerPoint-presentasjon</vt:lpstr>
      <vt:lpstr>Nasjonale grunndata</vt:lpstr>
      <vt:lpstr>PowerPoint-presentasjon</vt:lpstr>
      <vt:lpstr>Formål</vt:lpstr>
      <vt:lpstr>Nasjonale grunndata - organisering</vt:lpstr>
      <vt:lpstr>Utgangspunktet for saken "Kun en gang – men hvem skal hente inn dataene denne ene gang" </vt:lpstr>
      <vt:lpstr>Kunnskapsgrunnlaget</vt:lpstr>
      <vt:lpstr>Spørsmål strukturert i fire tema hentet fra felleskomponentrapporten fra 2010</vt:lpstr>
      <vt:lpstr>PowerPoint-presentasjon</vt:lpstr>
      <vt:lpstr>Utviklingstrekk</vt:lpstr>
      <vt:lpstr>Utviklingstrekk</vt:lpstr>
      <vt:lpstr>PowerPoint-presentasjon</vt:lpstr>
      <vt:lpstr>Utfordringer</vt:lpstr>
      <vt:lpstr>Laissez-faire - fravær av felles modell</vt:lpstr>
      <vt:lpstr>Datakvalitet</vt:lpstr>
      <vt:lpstr>Vanskelig å være konsument </vt:lpstr>
      <vt:lpstr>Vanskelig å være tilbyder</vt:lpstr>
      <vt:lpstr>Ingen helhetlig tilnærming til opplysningene    </vt:lpstr>
      <vt:lpstr>Tilpasningsevne / kritikalitet</vt:lpstr>
      <vt:lpstr>PowerPoint-presentasjon</vt:lpstr>
      <vt:lpstr>Nasjonale grunndata</vt:lpstr>
      <vt:lpstr>Foreslåtte tiltak</vt:lpstr>
      <vt:lpstr>PowerPoint-presentasjon</vt:lpstr>
      <vt:lpstr>PowerPoint-presentasjon</vt:lpstr>
      <vt:lpstr>Rammeverk - innhold</vt:lpstr>
      <vt:lpstr>Utprøving i caser</vt:lpstr>
      <vt:lpstr>Rammeverk – utprøving av del 1 og 2</vt:lpstr>
      <vt:lpstr>Caser</vt:lpstr>
      <vt:lpstr>Høyde- og dybdedata</vt:lpstr>
      <vt:lpstr>Arbeidsforholdsdata</vt:lpstr>
      <vt:lpstr>Del 1:Organisering, roller og aktører </vt:lpstr>
      <vt:lpstr>Utkast til roller i rammeverket etter utprøving i caser</vt:lpstr>
      <vt:lpstr>Utkast oppdaterte roller/ansvar etter utprøving i caser</vt:lpstr>
      <vt:lpstr>Utkast oppdaterte roller/ansvar etter utprøving i caser</vt:lpstr>
      <vt:lpstr>Utkast oppdaterte roller/ansvar etter utprøving i caser</vt:lpstr>
      <vt:lpstr>PowerPoint-presentasjon</vt:lpstr>
      <vt:lpstr>Del 2:Kriterier og prinsipper for nasjonale grunndata </vt:lpstr>
      <vt:lpstr>Kriterier</vt:lpstr>
      <vt:lpstr>Overordnede arkitekturprinsippene</vt:lpstr>
      <vt:lpstr>Prinsipp 1 – Dataforvaltning  </vt:lpstr>
      <vt:lpstr>Prinsipp 2 - Datadeling og -sammenstilling</vt:lpstr>
      <vt:lpstr>Del 3:Prosesser</vt:lpstr>
      <vt:lpstr>PowerPoint-presentasjon</vt:lpstr>
      <vt:lpstr>PowerPoint-presentasjon</vt:lpstr>
      <vt:lpstr>PowerPoint-presentasjon</vt:lpstr>
      <vt:lpstr>PowerPoint-presentasjon</vt:lpstr>
      <vt:lpstr>Hva er problem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ugleberg, Joachim</dc:creator>
  <cp:lastModifiedBy>Fugleberg, Joachim</cp:lastModifiedBy>
  <cp:revision>3</cp:revision>
  <dcterms:created xsi:type="dcterms:W3CDTF">2024-10-31T11:41:04Z</dcterms:created>
  <dcterms:modified xsi:type="dcterms:W3CDTF">2024-11-07T10: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28D411EC2F204491ED9F9753989140</vt:lpwstr>
  </property>
  <property fmtid="{D5CDD505-2E9C-101B-9397-08002B2CF9AE}" pid="3" name="MediaServiceImageTags">
    <vt:lpwstr/>
  </property>
</Properties>
</file>